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719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11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7F7"/>
    <a:srgbClr val="1C1C1C"/>
    <a:srgbClr val="5F5F5F"/>
    <a:srgbClr val="DA0110"/>
    <a:srgbClr val="F2F2F2"/>
    <a:srgbClr val="FE2635"/>
    <a:srgbClr val="FFFFFF"/>
    <a:srgbClr val="1BA5D4"/>
    <a:srgbClr val="47AB2C"/>
    <a:srgbClr val="3C4F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60" autoAdjust="0"/>
    <p:restoredTop sz="96081" autoAdjust="0"/>
  </p:normalViewPr>
  <p:slideViewPr>
    <p:cSldViewPr snapToGrid="0">
      <p:cViewPr varScale="1">
        <p:scale>
          <a:sx n="98" d="100"/>
          <a:sy n="98" d="100"/>
        </p:scale>
        <p:origin x="750" y="84"/>
      </p:cViewPr>
      <p:guideLst>
        <p:guide orient="horz" pos="191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1/2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712FC-90FF-4B94-9263-B812CCB51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C036D0-E6B5-434C-940A-96676C27C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/20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CBDD0-5377-499C-A75C-DCB6DEF03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11BD4D-1490-4F18-8CD7-D2ADC24CF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19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093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909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1/2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3" r:id="rId2"/>
    <p:sldLayoutId id="2147483734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9AC709-93F0-47F8-845B-3F645EB81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id="{AD87C66A-673D-472F-A11D-AD8D5E13D397}"/>
              </a:ext>
            </a:extLst>
          </p:cNvPr>
          <p:cNvSpPr>
            <a:spLocks noEditPoints="1"/>
          </p:cNvSpPr>
          <p:nvPr/>
        </p:nvSpPr>
        <p:spPr bwMode="auto">
          <a:xfrm>
            <a:off x="4992149" y="2878543"/>
            <a:ext cx="271238" cy="357720"/>
          </a:xfrm>
          <a:custGeom>
            <a:avLst/>
            <a:gdLst>
              <a:gd name="T0" fmla="*/ 102 w 115"/>
              <a:gd name="T1" fmla="*/ 150 h 152"/>
              <a:gd name="T2" fmla="*/ 102 w 115"/>
              <a:gd name="T3" fmla="*/ 150 h 152"/>
              <a:gd name="T4" fmla="*/ 102 w 115"/>
              <a:gd name="T5" fmla="*/ 150 h 152"/>
              <a:gd name="T6" fmla="*/ 102 w 115"/>
              <a:gd name="T7" fmla="*/ 140 h 152"/>
              <a:gd name="T8" fmla="*/ 102 w 115"/>
              <a:gd name="T9" fmla="*/ 140 h 152"/>
              <a:gd name="T10" fmla="*/ 112 w 115"/>
              <a:gd name="T11" fmla="*/ 140 h 152"/>
              <a:gd name="T12" fmla="*/ 112 w 115"/>
              <a:gd name="T13" fmla="*/ 140 h 152"/>
              <a:gd name="T14" fmla="*/ 112 w 115"/>
              <a:gd name="T15" fmla="*/ 150 h 152"/>
              <a:gd name="T16" fmla="*/ 112 w 115"/>
              <a:gd name="T17" fmla="*/ 150 h 152"/>
              <a:gd name="T18" fmla="*/ 107 w 115"/>
              <a:gd name="T19" fmla="*/ 152 h 152"/>
              <a:gd name="T20" fmla="*/ 107 w 115"/>
              <a:gd name="T21" fmla="*/ 152 h 152"/>
              <a:gd name="T22" fmla="*/ 102 w 115"/>
              <a:gd name="T23" fmla="*/ 150 h 152"/>
              <a:gd name="T24" fmla="*/ 73 w 115"/>
              <a:gd name="T25" fmla="*/ 118 h 152"/>
              <a:gd name="T26" fmla="*/ 74 w 115"/>
              <a:gd name="T27" fmla="*/ 108 h 152"/>
              <a:gd name="T28" fmla="*/ 74 w 115"/>
              <a:gd name="T29" fmla="*/ 108 h 152"/>
              <a:gd name="T30" fmla="*/ 84 w 115"/>
              <a:gd name="T31" fmla="*/ 109 h 152"/>
              <a:gd name="T32" fmla="*/ 84 w 115"/>
              <a:gd name="T33" fmla="*/ 109 h 152"/>
              <a:gd name="T34" fmla="*/ 83 w 115"/>
              <a:gd name="T35" fmla="*/ 119 h 152"/>
              <a:gd name="T36" fmla="*/ 83 w 115"/>
              <a:gd name="T37" fmla="*/ 119 h 152"/>
              <a:gd name="T38" fmla="*/ 78 w 115"/>
              <a:gd name="T39" fmla="*/ 121 h 152"/>
              <a:gd name="T40" fmla="*/ 78 w 115"/>
              <a:gd name="T41" fmla="*/ 121 h 152"/>
              <a:gd name="T42" fmla="*/ 73 w 115"/>
              <a:gd name="T43" fmla="*/ 118 h 152"/>
              <a:gd name="T44" fmla="*/ 46 w 115"/>
              <a:gd name="T45" fmla="*/ 85 h 152"/>
              <a:gd name="T46" fmla="*/ 46 w 115"/>
              <a:gd name="T47" fmla="*/ 85 h 152"/>
              <a:gd name="T48" fmla="*/ 46 w 115"/>
              <a:gd name="T49" fmla="*/ 85 h 152"/>
              <a:gd name="T50" fmla="*/ 48 w 115"/>
              <a:gd name="T51" fmla="*/ 75 h 152"/>
              <a:gd name="T52" fmla="*/ 48 w 115"/>
              <a:gd name="T53" fmla="*/ 75 h 152"/>
              <a:gd name="T54" fmla="*/ 58 w 115"/>
              <a:gd name="T55" fmla="*/ 76 h 152"/>
              <a:gd name="T56" fmla="*/ 58 w 115"/>
              <a:gd name="T57" fmla="*/ 76 h 152"/>
              <a:gd name="T58" fmla="*/ 56 w 115"/>
              <a:gd name="T59" fmla="*/ 86 h 152"/>
              <a:gd name="T60" fmla="*/ 56 w 115"/>
              <a:gd name="T61" fmla="*/ 86 h 152"/>
              <a:gd name="T62" fmla="*/ 52 w 115"/>
              <a:gd name="T63" fmla="*/ 88 h 152"/>
              <a:gd name="T64" fmla="*/ 52 w 115"/>
              <a:gd name="T65" fmla="*/ 88 h 152"/>
              <a:gd name="T66" fmla="*/ 46 w 115"/>
              <a:gd name="T67" fmla="*/ 85 h 152"/>
              <a:gd name="T68" fmla="*/ 22 w 115"/>
              <a:gd name="T69" fmla="*/ 49 h 152"/>
              <a:gd name="T70" fmla="*/ 22 w 115"/>
              <a:gd name="T71" fmla="*/ 49 h 152"/>
              <a:gd name="T72" fmla="*/ 22 w 115"/>
              <a:gd name="T73" fmla="*/ 49 h 152"/>
              <a:gd name="T74" fmla="*/ 25 w 115"/>
              <a:gd name="T75" fmla="*/ 39 h 152"/>
              <a:gd name="T76" fmla="*/ 25 w 115"/>
              <a:gd name="T77" fmla="*/ 39 h 152"/>
              <a:gd name="T78" fmla="*/ 34 w 115"/>
              <a:gd name="T79" fmla="*/ 42 h 152"/>
              <a:gd name="T80" fmla="*/ 34 w 115"/>
              <a:gd name="T81" fmla="*/ 42 h 152"/>
              <a:gd name="T82" fmla="*/ 32 w 115"/>
              <a:gd name="T83" fmla="*/ 51 h 152"/>
              <a:gd name="T84" fmla="*/ 32 w 115"/>
              <a:gd name="T85" fmla="*/ 51 h 152"/>
              <a:gd name="T86" fmla="*/ 28 w 115"/>
              <a:gd name="T87" fmla="*/ 52 h 152"/>
              <a:gd name="T88" fmla="*/ 28 w 115"/>
              <a:gd name="T89" fmla="*/ 52 h 152"/>
              <a:gd name="T90" fmla="*/ 22 w 115"/>
              <a:gd name="T91" fmla="*/ 49 h 152"/>
              <a:gd name="T92" fmla="*/ 2 w 115"/>
              <a:gd name="T93" fmla="*/ 11 h 152"/>
              <a:gd name="T94" fmla="*/ 5 w 115"/>
              <a:gd name="T95" fmla="*/ 2 h 152"/>
              <a:gd name="T96" fmla="*/ 5 w 115"/>
              <a:gd name="T97" fmla="*/ 2 h 152"/>
              <a:gd name="T98" fmla="*/ 14 w 115"/>
              <a:gd name="T99" fmla="*/ 5 h 152"/>
              <a:gd name="T100" fmla="*/ 14 w 115"/>
              <a:gd name="T101" fmla="*/ 5 h 152"/>
              <a:gd name="T102" fmla="*/ 11 w 115"/>
              <a:gd name="T103" fmla="*/ 14 h 152"/>
              <a:gd name="T104" fmla="*/ 11 w 115"/>
              <a:gd name="T105" fmla="*/ 14 h 152"/>
              <a:gd name="T106" fmla="*/ 8 w 115"/>
              <a:gd name="T107" fmla="*/ 15 h 152"/>
              <a:gd name="T108" fmla="*/ 8 w 115"/>
              <a:gd name="T109" fmla="*/ 15 h 152"/>
              <a:gd name="T110" fmla="*/ 2 w 115"/>
              <a:gd name="T111" fmla="*/ 11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5" h="152">
                <a:moveTo>
                  <a:pt x="102" y="150"/>
                </a:moveTo>
                <a:cubicBezTo>
                  <a:pt x="102" y="150"/>
                  <a:pt x="102" y="150"/>
                  <a:pt x="102" y="150"/>
                </a:cubicBezTo>
                <a:cubicBezTo>
                  <a:pt x="102" y="150"/>
                  <a:pt x="102" y="150"/>
                  <a:pt x="102" y="150"/>
                </a:cubicBezTo>
                <a:cubicBezTo>
                  <a:pt x="100" y="147"/>
                  <a:pt x="100" y="143"/>
                  <a:pt x="102" y="140"/>
                </a:cubicBezTo>
                <a:cubicBezTo>
                  <a:pt x="102" y="140"/>
                  <a:pt x="102" y="140"/>
                  <a:pt x="102" y="140"/>
                </a:cubicBezTo>
                <a:cubicBezTo>
                  <a:pt x="105" y="137"/>
                  <a:pt x="109" y="137"/>
                  <a:pt x="112" y="140"/>
                </a:cubicBezTo>
                <a:cubicBezTo>
                  <a:pt x="112" y="140"/>
                  <a:pt x="112" y="140"/>
                  <a:pt x="112" y="140"/>
                </a:cubicBezTo>
                <a:cubicBezTo>
                  <a:pt x="115" y="142"/>
                  <a:pt x="115" y="147"/>
                  <a:pt x="112" y="150"/>
                </a:cubicBezTo>
                <a:cubicBezTo>
                  <a:pt x="112" y="150"/>
                  <a:pt x="112" y="150"/>
                  <a:pt x="112" y="150"/>
                </a:cubicBezTo>
                <a:cubicBezTo>
                  <a:pt x="111" y="151"/>
                  <a:pt x="109" y="152"/>
                  <a:pt x="107" y="152"/>
                </a:cubicBezTo>
                <a:cubicBezTo>
                  <a:pt x="107" y="152"/>
                  <a:pt x="107" y="152"/>
                  <a:pt x="107" y="152"/>
                </a:cubicBezTo>
                <a:cubicBezTo>
                  <a:pt x="105" y="152"/>
                  <a:pt x="104" y="151"/>
                  <a:pt x="102" y="150"/>
                </a:cubicBezTo>
                <a:close/>
                <a:moveTo>
                  <a:pt x="73" y="118"/>
                </a:moveTo>
                <a:cubicBezTo>
                  <a:pt x="70" y="115"/>
                  <a:pt x="71" y="111"/>
                  <a:pt x="74" y="108"/>
                </a:cubicBezTo>
                <a:cubicBezTo>
                  <a:pt x="74" y="108"/>
                  <a:pt x="74" y="108"/>
                  <a:pt x="74" y="108"/>
                </a:cubicBezTo>
                <a:cubicBezTo>
                  <a:pt x="77" y="106"/>
                  <a:pt x="81" y="106"/>
                  <a:pt x="84" y="109"/>
                </a:cubicBezTo>
                <a:cubicBezTo>
                  <a:pt x="84" y="109"/>
                  <a:pt x="84" y="109"/>
                  <a:pt x="84" y="109"/>
                </a:cubicBezTo>
                <a:cubicBezTo>
                  <a:pt x="86" y="112"/>
                  <a:pt x="86" y="117"/>
                  <a:pt x="83" y="119"/>
                </a:cubicBezTo>
                <a:cubicBezTo>
                  <a:pt x="83" y="119"/>
                  <a:pt x="83" y="119"/>
                  <a:pt x="83" y="119"/>
                </a:cubicBezTo>
                <a:cubicBezTo>
                  <a:pt x="82" y="120"/>
                  <a:pt x="80" y="121"/>
                  <a:pt x="78" y="121"/>
                </a:cubicBezTo>
                <a:cubicBezTo>
                  <a:pt x="78" y="121"/>
                  <a:pt x="78" y="121"/>
                  <a:pt x="78" y="121"/>
                </a:cubicBezTo>
                <a:cubicBezTo>
                  <a:pt x="76" y="121"/>
                  <a:pt x="74" y="120"/>
                  <a:pt x="73" y="118"/>
                </a:cubicBezTo>
                <a:close/>
                <a:moveTo>
                  <a:pt x="46" y="85"/>
                </a:moveTo>
                <a:cubicBezTo>
                  <a:pt x="46" y="85"/>
                  <a:pt x="46" y="85"/>
                  <a:pt x="46" y="85"/>
                </a:cubicBezTo>
                <a:cubicBezTo>
                  <a:pt x="46" y="85"/>
                  <a:pt x="46" y="85"/>
                  <a:pt x="46" y="85"/>
                </a:cubicBezTo>
                <a:cubicBezTo>
                  <a:pt x="44" y="82"/>
                  <a:pt x="45" y="77"/>
                  <a:pt x="48" y="75"/>
                </a:cubicBezTo>
                <a:cubicBezTo>
                  <a:pt x="48" y="75"/>
                  <a:pt x="48" y="75"/>
                  <a:pt x="48" y="75"/>
                </a:cubicBezTo>
                <a:cubicBezTo>
                  <a:pt x="51" y="73"/>
                  <a:pt x="55" y="73"/>
                  <a:pt x="58" y="76"/>
                </a:cubicBezTo>
                <a:cubicBezTo>
                  <a:pt x="58" y="76"/>
                  <a:pt x="58" y="76"/>
                  <a:pt x="58" y="76"/>
                </a:cubicBezTo>
                <a:cubicBezTo>
                  <a:pt x="60" y="80"/>
                  <a:pt x="59" y="84"/>
                  <a:pt x="56" y="86"/>
                </a:cubicBezTo>
                <a:cubicBezTo>
                  <a:pt x="56" y="86"/>
                  <a:pt x="56" y="86"/>
                  <a:pt x="56" y="86"/>
                </a:cubicBezTo>
                <a:cubicBezTo>
                  <a:pt x="55" y="87"/>
                  <a:pt x="53" y="88"/>
                  <a:pt x="52" y="88"/>
                </a:cubicBezTo>
                <a:cubicBezTo>
                  <a:pt x="52" y="88"/>
                  <a:pt x="52" y="88"/>
                  <a:pt x="52" y="88"/>
                </a:cubicBezTo>
                <a:cubicBezTo>
                  <a:pt x="50" y="88"/>
                  <a:pt x="48" y="87"/>
                  <a:pt x="46" y="85"/>
                </a:cubicBezTo>
                <a:close/>
                <a:moveTo>
                  <a:pt x="22" y="49"/>
                </a:moveTo>
                <a:cubicBezTo>
                  <a:pt x="22" y="49"/>
                  <a:pt x="22" y="49"/>
                  <a:pt x="22" y="49"/>
                </a:cubicBezTo>
                <a:cubicBezTo>
                  <a:pt x="22" y="49"/>
                  <a:pt x="22" y="49"/>
                  <a:pt x="22" y="49"/>
                </a:cubicBezTo>
                <a:cubicBezTo>
                  <a:pt x="20" y="46"/>
                  <a:pt x="22" y="41"/>
                  <a:pt x="25" y="39"/>
                </a:cubicBezTo>
                <a:cubicBezTo>
                  <a:pt x="25" y="39"/>
                  <a:pt x="25" y="39"/>
                  <a:pt x="25" y="39"/>
                </a:cubicBezTo>
                <a:cubicBezTo>
                  <a:pt x="28" y="37"/>
                  <a:pt x="32" y="38"/>
                  <a:pt x="34" y="42"/>
                </a:cubicBezTo>
                <a:cubicBezTo>
                  <a:pt x="34" y="42"/>
                  <a:pt x="34" y="42"/>
                  <a:pt x="34" y="42"/>
                </a:cubicBezTo>
                <a:cubicBezTo>
                  <a:pt x="36" y="45"/>
                  <a:pt x="35" y="49"/>
                  <a:pt x="32" y="51"/>
                </a:cubicBezTo>
                <a:cubicBezTo>
                  <a:pt x="32" y="51"/>
                  <a:pt x="32" y="51"/>
                  <a:pt x="32" y="51"/>
                </a:cubicBezTo>
                <a:cubicBezTo>
                  <a:pt x="31" y="52"/>
                  <a:pt x="30" y="52"/>
                  <a:pt x="28" y="52"/>
                </a:cubicBezTo>
                <a:cubicBezTo>
                  <a:pt x="28" y="52"/>
                  <a:pt x="28" y="52"/>
                  <a:pt x="28" y="52"/>
                </a:cubicBezTo>
                <a:cubicBezTo>
                  <a:pt x="26" y="52"/>
                  <a:pt x="24" y="51"/>
                  <a:pt x="22" y="49"/>
                </a:cubicBezTo>
                <a:close/>
                <a:moveTo>
                  <a:pt x="2" y="11"/>
                </a:moveTo>
                <a:cubicBezTo>
                  <a:pt x="0" y="8"/>
                  <a:pt x="1" y="4"/>
                  <a:pt x="5" y="2"/>
                </a:cubicBezTo>
                <a:cubicBezTo>
                  <a:pt x="5" y="2"/>
                  <a:pt x="5" y="2"/>
                  <a:pt x="5" y="2"/>
                </a:cubicBezTo>
                <a:cubicBezTo>
                  <a:pt x="8" y="0"/>
                  <a:pt x="12" y="2"/>
                  <a:pt x="14" y="5"/>
                </a:cubicBezTo>
                <a:cubicBezTo>
                  <a:pt x="14" y="5"/>
                  <a:pt x="14" y="5"/>
                  <a:pt x="14" y="5"/>
                </a:cubicBezTo>
                <a:cubicBezTo>
                  <a:pt x="16" y="9"/>
                  <a:pt x="15" y="13"/>
                  <a:pt x="11" y="14"/>
                </a:cubicBezTo>
                <a:cubicBezTo>
                  <a:pt x="11" y="14"/>
                  <a:pt x="11" y="14"/>
                  <a:pt x="11" y="14"/>
                </a:cubicBezTo>
                <a:cubicBezTo>
                  <a:pt x="10" y="15"/>
                  <a:pt x="9" y="15"/>
                  <a:pt x="8" y="15"/>
                </a:cubicBezTo>
                <a:cubicBezTo>
                  <a:pt x="8" y="15"/>
                  <a:pt x="8" y="15"/>
                  <a:pt x="8" y="15"/>
                </a:cubicBezTo>
                <a:cubicBezTo>
                  <a:pt x="5" y="15"/>
                  <a:pt x="3" y="14"/>
                  <a:pt x="2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112DB115-CF5F-4FA6-8D39-7E252B896E79}"/>
              </a:ext>
            </a:extLst>
          </p:cNvPr>
          <p:cNvSpPr>
            <a:spLocks noEditPoints="1"/>
          </p:cNvSpPr>
          <p:nvPr/>
        </p:nvSpPr>
        <p:spPr bwMode="auto">
          <a:xfrm>
            <a:off x="5515953" y="3411192"/>
            <a:ext cx="413736" cy="157240"/>
          </a:xfrm>
          <a:custGeom>
            <a:avLst/>
            <a:gdLst>
              <a:gd name="T0" fmla="*/ 168 w 176"/>
              <a:gd name="T1" fmla="*/ 67 h 67"/>
              <a:gd name="T2" fmla="*/ 162 w 176"/>
              <a:gd name="T3" fmla="*/ 59 h 67"/>
              <a:gd name="T4" fmla="*/ 162 w 176"/>
              <a:gd name="T5" fmla="*/ 59 h 67"/>
              <a:gd name="T6" fmla="*/ 170 w 176"/>
              <a:gd name="T7" fmla="*/ 53 h 67"/>
              <a:gd name="T8" fmla="*/ 170 w 176"/>
              <a:gd name="T9" fmla="*/ 53 h 67"/>
              <a:gd name="T10" fmla="*/ 176 w 176"/>
              <a:gd name="T11" fmla="*/ 61 h 67"/>
              <a:gd name="T12" fmla="*/ 176 w 176"/>
              <a:gd name="T13" fmla="*/ 61 h 67"/>
              <a:gd name="T14" fmla="*/ 169 w 176"/>
              <a:gd name="T15" fmla="*/ 67 h 67"/>
              <a:gd name="T16" fmla="*/ 169 w 176"/>
              <a:gd name="T17" fmla="*/ 67 h 67"/>
              <a:gd name="T18" fmla="*/ 168 w 176"/>
              <a:gd name="T19" fmla="*/ 67 h 67"/>
              <a:gd name="T20" fmla="*/ 125 w 176"/>
              <a:gd name="T21" fmla="*/ 59 h 67"/>
              <a:gd name="T22" fmla="*/ 120 w 176"/>
              <a:gd name="T23" fmla="*/ 51 h 67"/>
              <a:gd name="T24" fmla="*/ 120 w 176"/>
              <a:gd name="T25" fmla="*/ 51 h 67"/>
              <a:gd name="T26" fmla="*/ 129 w 176"/>
              <a:gd name="T27" fmla="*/ 45 h 67"/>
              <a:gd name="T28" fmla="*/ 129 w 176"/>
              <a:gd name="T29" fmla="*/ 45 h 67"/>
              <a:gd name="T30" fmla="*/ 134 w 176"/>
              <a:gd name="T31" fmla="*/ 54 h 67"/>
              <a:gd name="T32" fmla="*/ 134 w 176"/>
              <a:gd name="T33" fmla="*/ 54 h 67"/>
              <a:gd name="T34" fmla="*/ 127 w 176"/>
              <a:gd name="T35" fmla="*/ 59 h 67"/>
              <a:gd name="T36" fmla="*/ 127 w 176"/>
              <a:gd name="T37" fmla="*/ 59 h 67"/>
              <a:gd name="T38" fmla="*/ 125 w 176"/>
              <a:gd name="T39" fmla="*/ 59 h 67"/>
              <a:gd name="T40" fmla="*/ 84 w 176"/>
              <a:gd name="T41" fmla="*/ 48 h 67"/>
              <a:gd name="T42" fmla="*/ 80 w 176"/>
              <a:gd name="T43" fmla="*/ 39 h 67"/>
              <a:gd name="T44" fmla="*/ 80 w 176"/>
              <a:gd name="T45" fmla="*/ 39 h 67"/>
              <a:gd name="T46" fmla="*/ 88 w 176"/>
              <a:gd name="T47" fmla="*/ 34 h 67"/>
              <a:gd name="T48" fmla="*/ 88 w 176"/>
              <a:gd name="T49" fmla="*/ 34 h 67"/>
              <a:gd name="T50" fmla="*/ 93 w 176"/>
              <a:gd name="T51" fmla="*/ 43 h 67"/>
              <a:gd name="T52" fmla="*/ 93 w 176"/>
              <a:gd name="T53" fmla="*/ 43 h 67"/>
              <a:gd name="T54" fmla="*/ 86 w 176"/>
              <a:gd name="T55" fmla="*/ 48 h 67"/>
              <a:gd name="T56" fmla="*/ 86 w 176"/>
              <a:gd name="T57" fmla="*/ 48 h 67"/>
              <a:gd name="T58" fmla="*/ 84 w 176"/>
              <a:gd name="T59" fmla="*/ 48 h 67"/>
              <a:gd name="T60" fmla="*/ 44 w 176"/>
              <a:gd name="T61" fmla="*/ 33 h 67"/>
              <a:gd name="T62" fmla="*/ 40 w 176"/>
              <a:gd name="T63" fmla="*/ 23 h 67"/>
              <a:gd name="T64" fmla="*/ 40 w 176"/>
              <a:gd name="T65" fmla="*/ 23 h 67"/>
              <a:gd name="T66" fmla="*/ 49 w 176"/>
              <a:gd name="T67" fmla="*/ 20 h 67"/>
              <a:gd name="T68" fmla="*/ 49 w 176"/>
              <a:gd name="T69" fmla="*/ 20 h 67"/>
              <a:gd name="T70" fmla="*/ 53 w 176"/>
              <a:gd name="T71" fmla="*/ 29 h 67"/>
              <a:gd name="T72" fmla="*/ 53 w 176"/>
              <a:gd name="T73" fmla="*/ 29 h 67"/>
              <a:gd name="T74" fmla="*/ 47 w 176"/>
              <a:gd name="T75" fmla="*/ 33 h 67"/>
              <a:gd name="T76" fmla="*/ 47 w 176"/>
              <a:gd name="T77" fmla="*/ 33 h 67"/>
              <a:gd name="T78" fmla="*/ 44 w 176"/>
              <a:gd name="T79" fmla="*/ 33 h 67"/>
              <a:gd name="T80" fmla="*/ 5 w 176"/>
              <a:gd name="T81" fmla="*/ 14 h 67"/>
              <a:gd name="T82" fmla="*/ 2 w 176"/>
              <a:gd name="T83" fmla="*/ 5 h 67"/>
              <a:gd name="T84" fmla="*/ 2 w 176"/>
              <a:gd name="T85" fmla="*/ 5 h 67"/>
              <a:gd name="T86" fmla="*/ 11 w 176"/>
              <a:gd name="T87" fmla="*/ 2 h 67"/>
              <a:gd name="T88" fmla="*/ 11 w 176"/>
              <a:gd name="T89" fmla="*/ 2 h 67"/>
              <a:gd name="T90" fmla="*/ 14 w 176"/>
              <a:gd name="T91" fmla="*/ 11 h 67"/>
              <a:gd name="T92" fmla="*/ 14 w 176"/>
              <a:gd name="T93" fmla="*/ 11 h 67"/>
              <a:gd name="T94" fmla="*/ 8 w 176"/>
              <a:gd name="T95" fmla="*/ 15 h 67"/>
              <a:gd name="T96" fmla="*/ 8 w 176"/>
              <a:gd name="T97" fmla="*/ 15 h 67"/>
              <a:gd name="T98" fmla="*/ 5 w 176"/>
              <a:gd name="T99" fmla="*/ 1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76" h="67">
                <a:moveTo>
                  <a:pt x="168" y="67"/>
                </a:moveTo>
                <a:cubicBezTo>
                  <a:pt x="164" y="67"/>
                  <a:pt x="161" y="63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62" y="55"/>
                  <a:pt x="166" y="53"/>
                  <a:pt x="170" y="53"/>
                </a:cubicBezTo>
                <a:cubicBezTo>
                  <a:pt x="170" y="53"/>
                  <a:pt x="170" y="53"/>
                  <a:pt x="170" y="53"/>
                </a:cubicBezTo>
                <a:cubicBezTo>
                  <a:pt x="174" y="54"/>
                  <a:pt x="176" y="57"/>
                  <a:pt x="176" y="61"/>
                </a:cubicBezTo>
                <a:cubicBezTo>
                  <a:pt x="176" y="61"/>
                  <a:pt x="176" y="61"/>
                  <a:pt x="176" y="61"/>
                </a:cubicBezTo>
                <a:cubicBezTo>
                  <a:pt x="175" y="65"/>
                  <a:pt x="172" y="67"/>
                  <a:pt x="169" y="67"/>
                </a:cubicBezTo>
                <a:cubicBezTo>
                  <a:pt x="169" y="67"/>
                  <a:pt x="169" y="67"/>
                  <a:pt x="169" y="67"/>
                </a:cubicBezTo>
                <a:cubicBezTo>
                  <a:pt x="168" y="67"/>
                  <a:pt x="168" y="67"/>
                  <a:pt x="168" y="67"/>
                </a:cubicBezTo>
                <a:close/>
                <a:moveTo>
                  <a:pt x="125" y="59"/>
                </a:moveTo>
                <a:cubicBezTo>
                  <a:pt x="122" y="58"/>
                  <a:pt x="119" y="54"/>
                  <a:pt x="120" y="51"/>
                </a:cubicBezTo>
                <a:cubicBezTo>
                  <a:pt x="120" y="51"/>
                  <a:pt x="120" y="51"/>
                  <a:pt x="120" y="51"/>
                </a:cubicBezTo>
                <a:cubicBezTo>
                  <a:pt x="121" y="47"/>
                  <a:pt x="125" y="45"/>
                  <a:pt x="129" y="45"/>
                </a:cubicBezTo>
                <a:cubicBezTo>
                  <a:pt x="129" y="45"/>
                  <a:pt x="129" y="45"/>
                  <a:pt x="129" y="45"/>
                </a:cubicBezTo>
                <a:cubicBezTo>
                  <a:pt x="132" y="46"/>
                  <a:pt x="135" y="50"/>
                  <a:pt x="134" y="54"/>
                </a:cubicBezTo>
                <a:cubicBezTo>
                  <a:pt x="134" y="54"/>
                  <a:pt x="134" y="54"/>
                  <a:pt x="134" y="54"/>
                </a:cubicBezTo>
                <a:cubicBezTo>
                  <a:pt x="133" y="57"/>
                  <a:pt x="130" y="59"/>
                  <a:pt x="127" y="59"/>
                </a:cubicBezTo>
                <a:cubicBezTo>
                  <a:pt x="127" y="59"/>
                  <a:pt x="127" y="59"/>
                  <a:pt x="127" y="59"/>
                </a:cubicBezTo>
                <a:cubicBezTo>
                  <a:pt x="127" y="59"/>
                  <a:pt x="126" y="59"/>
                  <a:pt x="125" y="59"/>
                </a:cubicBezTo>
                <a:close/>
                <a:moveTo>
                  <a:pt x="84" y="48"/>
                </a:moveTo>
                <a:cubicBezTo>
                  <a:pt x="80" y="46"/>
                  <a:pt x="78" y="42"/>
                  <a:pt x="80" y="39"/>
                </a:cubicBezTo>
                <a:cubicBezTo>
                  <a:pt x="80" y="39"/>
                  <a:pt x="80" y="39"/>
                  <a:pt x="80" y="39"/>
                </a:cubicBezTo>
                <a:cubicBezTo>
                  <a:pt x="81" y="35"/>
                  <a:pt x="85" y="33"/>
                  <a:pt x="88" y="34"/>
                </a:cubicBezTo>
                <a:cubicBezTo>
                  <a:pt x="88" y="34"/>
                  <a:pt x="88" y="34"/>
                  <a:pt x="88" y="34"/>
                </a:cubicBezTo>
                <a:cubicBezTo>
                  <a:pt x="92" y="35"/>
                  <a:pt x="94" y="39"/>
                  <a:pt x="93" y="43"/>
                </a:cubicBezTo>
                <a:cubicBezTo>
                  <a:pt x="93" y="43"/>
                  <a:pt x="93" y="43"/>
                  <a:pt x="93" y="43"/>
                </a:cubicBezTo>
                <a:cubicBezTo>
                  <a:pt x="92" y="46"/>
                  <a:pt x="89" y="48"/>
                  <a:pt x="86" y="48"/>
                </a:cubicBezTo>
                <a:cubicBezTo>
                  <a:pt x="86" y="48"/>
                  <a:pt x="86" y="48"/>
                  <a:pt x="86" y="48"/>
                </a:cubicBezTo>
                <a:cubicBezTo>
                  <a:pt x="86" y="48"/>
                  <a:pt x="85" y="48"/>
                  <a:pt x="84" y="48"/>
                </a:cubicBezTo>
                <a:close/>
                <a:moveTo>
                  <a:pt x="44" y="33"/>
                </a:moveTo>
                <a:cubicBezTo>
                  <a:pt x="40" y="31"/>
                  <a:pt x="39" y="27"/>
                  <a:pt x="40" y="23"/>
                </a:cubicBezTo>
                <a:cubicBezTo>
                  <a:pt x="40" y="23"/>
                  <a:pt x="40" y="23"/>
                  <a:pt x="40" y="23"/>
                </a:cubicBezTo>
                <a:cubicBezTo>
                  <a:pt x="42" y="20"/>
                  <a:pt x="46" y="18"/>
                  <a:pt x="49" y="20"/>
                </a:cubicBezTo>
                <a:cubicBezTo>
                  <a:pt x="49" y="20"/>
                  <a:pt x="49" y="20"/>
                  <a:pt x="49" y="20"/>
                </a:cubicBezTo>
                <a:cubicBezTo>
                  <a:pt x="53" y="21"/>
                  <a:pt x="55" y="25"/>
                  <a:pt x="53" y="29"/>
                </a:cubicBezTo>
                <a:cubicBezTo>
                  <a:pt x="53" y="29"/>
                  <a:pt x="53" y="29"/>
                  <a:pt x="53" y="29"/>
                </a:cubicBezTo>
                <a:cubicBezTo>
                  <a:pt x="52" y="32"/>
                  <a:pt x="49" y="33"/>
                  <a:pt x="47" y="33"/>
                </a:cubicBezTo>
                <a:cubicBezTo>
                  <a:pt x="47" y="33"/>
                  <a:pt x="47" y="33"/>
                  <a:pt x="47" y="33"/>
                </a:cubicBezTo>
                <a:cubicBezTo>
                  <a:pt x="46" y="33"/>
                  <a:pt x="45" y="33"/>
                  <a:pt x="44" y="33"/>
                </a:cubicBezTo>
                <a:close/>
                <a:moveTo>
                  <a:pt x="5" y="14"/>
                </a:moveTo>
                <a:cubicBezTo>
                  <a:pt x="2" y="13"/>
                  <a:pt x="0" y="8"/>
                  <a:pt x="2" y="5"/>
                </a:cubicBezTo>
                <a:cubicBezTo>
                  <a:pt x="2" y="5"/>
                  <a:pt x="2" y="5"/>
                  <a:pt x="2" y="5"/>
                </a:cubicBezTo>
                <a:cubicBezTo>
                  <a:pt x="4" y="1"/>
                  <a:pt x="8" y="0"/>
                  <a:pt x="11" y="2"/>
                </a:cubicBezTo>
                <a:cubicBezTo>
                  <a:pt x="11" y="2"/>
                  <a:pt x="11" y="2"/>
                  <a:pt x="11" y="2"/>
                </a:cubicBezTo>
                <a:cubicBezTo>
                  <a:pt x="15" y="4"/>
                  <a:pt x="16" y="8"/>
                  <a:pt x="14" y="11"/>
                </a:cubicBezTo>
                <a:cubicBezTo>
                  <a:pt x="14" y="11"/>
                  <a:pt x="14" y="11"/>
                  <a:pt x="14" y="11"/>
                </a:cubicBezTo>
                <a:cubicBezTo>
                  <a:pt x="13" y="14"/>
                  <a:pt x="11" y="15"/>
                  <a:pt x="8" y="15"/>
                </a:cubicBezTo>
                <a:cubicBezTo>
                  <a:pt x="8" y="15"/>
                  <a:pt x="8" y="15"/>
                  <a:pt x="8" y="15"/>
                </a:cubicBezTo>
                <a:cubicBezTo>
                  <a:pt x="7" y="15"/>
                  <a:pt x="6" y="15"/>
                  <a:pt x="5" y="1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53CF0815-DF65-4142-8474-7D67C809C0F7}"/>
              </a:ext>
            </a:extLst>
          </p:cNvPr>
          <p:cNvSpPr>
            <a:spLocks noEditPoints="1"/>
          </p:cNvSpPr>
          <p:nvPr/>
        </p:nvSpPr>
        <p:spPr bwMode="auto">
          <a:xfrm>
            <a:off x="6253014" y="3411192"/>
            <a:ext cx="414719" cy="157240"/>
          </a:xfrm>
          <a:custGeom>
            <a:avLst/>
            <a:gdLst>
              <a:gd name="T0" fmla="*/ 1 w 176"/>
              <a:gd name="T1" fmla="*/ 61 h 67"/>
              <a:gd name="T2" fmla="*/ 7 w 176"/>
              <a:gd name="T3" fmla="*/ 53 h 67"/>
              <a:gd name="T4" fmla="*/ 7 w 176"/>
              <a:gd name="T5" fmla="*/ 53 h 67"/>
              <a:gd name="T6" fmla="*/ 15 w 176"/>
              <a:gd name="T7" fmla="*/ 59 h 67"/>
              <a:gd name="T8" fmla="*/ 15 w 176"/>
              <a:gd name="T9" fmla="*/ 59 h 67"/>
              <a:gd name="T10" fmla="*/ 9 w 176"/>
              <a:gd name="T11" fmla="*/ 67 h 67"/>
              <a:gd name="T12" fmla="*/ 9 w 176"/>
              <a:gd name="T13" fmla="*/ 67 h 67"/>
              <a:gd name="T14" fmla="*/ 9 w 176"/>
              <a:gd name="T15" fmla="*/ 67 h 67"/>
              <a:gd name="T16" fmla="*/ 9 w 176"/>
              <a:gd name="T17" fmla="*/ 67 h 67"/>
              <a:gd name="T18" fmla="*/ 8 w 176"/>
              <a:gd name="T19" fmla="*/ 67 h 67"/>
              <a:gd name="T20" fmla="*/ 8 w 176"/>
              <a:gd name="T21" fmla="*/ 67 h 67"/>
              <a:gd name="T22" fmla="*/ 1 w 176"/>
              <a:gd name="T23" fmla="*/ 61 h 67"/>
              <a:gd name="T24" fmla="*/ 43 w 176"/>
              <a:gd name="T25" fmla="*/ 54 h 67"/>
              <a:gd name="T26" fmla="*/ 48 w 176"/>
              <a:gd name="T27" fmla="*/ 45 h 67"/>
              <a:gd name="T28" fmla="*/ 48 w 176"/>
              <a:gd name="T29" fmla="*/ 45 h 67"/>
              <a:gd name="T30" fmla="*/ 56 w 176"/>
              <a:gd name="T31" fmla="*/ 51 h 67"/>
              <a:gd name="T32" fmla="*/ 56 w 176"/>
              <a:gd name="T33" fmla="*/ 51 h 67"/>
              <a:gd name="T34" fmla="*/ 51 w 176"/>
              <a:gd name="T35" fmla="*/ 59 h 67"/>
              <a:gd name="T36" fmla="*/ 51 w 176"/>
              <a:gd name="T37" fmla="*/ 59 h 67"/>
              <a:gd name="T38" fmla="*/ 50 w 176"/>
              <a:gd name="T39" fmla="*/ 59 h 67"/>
              <a:gd name="T40" fmla="*/ 50 w 176"/>
              <a:gd name="T41" fmla="*/ 59 h 67"/>
              <a:gd name="T42" fmla="*/ 43 w 176"/>
              <a:gd name="T43" fmla="*/ 54 h 67"/>
              <a:gd name="T44" fmla="*/ 84 w 176"/>
              <a:gd name="T45" fmla="*/ 43 h 67"/>
              <a:gd name="T46" fmla="*/ 88 w 176"/>
              <a:gd name="T47" fmla="*/ 34 h 67"/>
              <a:gd name="T48" fmla="*/ 88 w 176"/>
              <a:gd name="T49" fmla="*/ 34 h 67"/>
              <a:gd name="T50" fmla="*/ 97 w 176"/>
              <a:gd name="T51" fmla="*/ 39 h 67"/>
              <a:gd name="T52" fmla="*/ 97 w 176"/>
              <a:gd name="T53" fmla="*/ 39 h 67"/>
              <a:gd name="T54" fmla="*/ 92 w 176"/>
              <a:gd name="T55" fmla="*/ 47 h 67"/>
              <a:gd name="T56" fmla="*/ 92 w 176"/>
              <a:gd name="T57" fmla="*/ 47 h 67"/>
              <a:gd name="T58" fmla="*/ 90 w 176"/>
              <a:gd name="T59" fmla="*/ 48 h 67"/>
              <a:gd name="T60" fmla="*/ 90 w 176"/>
              <a:gd name="T61" fmla="*/ 48 h 67"/>
              <a:gd name="T62" fmla="*/ 84 w 176"/>
              <a:gd name="T63" fmla="*/ 43 h 67"/>
              <a:gd name="T64" fmla="*/ 124 w 176"/>
              <a:gd name="T65" fmla="*/ 29 h 67"/>
              <a:gd name="T66" fmla="*/ 127 w 176"/>
              <a:gd name="T67" fmla="*/ 20 h 67"/>
              <a:gd name="T68" fmla="*/ 127 w 176"/>
              <a:gd name="T69" fmla="*/ 20 h 67"/>
              <a:gd name="T70" fmla="*/ 136 w 176"/>
              <a:gd name="T71" fmla="*/ 23 h 67"/>
              <a:gd name="T72" fmla="*/ 136 w 176"/>
              <a:gd name="T73" fmla="*/ 23 h 67"/>
              <a:gd name="T74" fmla="*/ 133 w 176"/>
              <a:gd name="T75" fmla="*/ 33 h 67"/>
              <a:gd name="T76" fmla="*/ 133 w 176"/>
              <a:gd name="T77" fmla="*/ 33 h 67"/>
              <a:gd name="T78" fmla="*/ 133 w 176"/>
              <a:gd name="T79" fmla="*/ 33 h 67"/>
              <a:gd name="T80" fmla="*/ 133 w 176"/>
              <a:gd name="T81" fmla="*/ 33 h 67"/>
              <a:gd name="T82" fmla="*/ 130 w 176"/>
              <a:gd name="T83" fmla="*/ 33 h 67"/>
              <a:gd name="T84" fmla="*/ 130 w 176"/>
              <a:gd name="T85" fmla="*/ 33 h 67"/>
              <a:gd name="T86" fmla="*/ 124 w 176"/>
              <a:gd name="T87" fmla="*/ 29 h 67"/>
              <a:gd name="T88" fmla="*/ 162 w 176"/>
              <a:gd name="T89" fmla="*/ 11 h 67"/>
              <a:gd name="T90" fmla="*/ 165 w 176"/>
              <a:gd name="T91" fmla="*/ 2 h 67"/>
              <a:gd name="T92" fmla="*/ 165 w 176"/>
              <a:gd name="T93" fmla="*/ 2 h 67"/>
              <a:gd name="T94" fmla="*/ 175 w 176"/>
              <a:gd name="T95" fmla="*/ 5 h 67"/>
              <a:gd name="T96" fmla="*/ 175 w 176"/>
              <a:gd name="T97" fmla="*/ 5 h 67"/>
              <a:gd name="T98" fmla="*/ 172 w 176"/>
              <a:gd name="T99" fmla="*/ 14 h 67"/>
              <a:gd name="T100" fmla="*/ 172 w 176"/>
              <a:gd name="T101" fmla="*/ 14 h 67"/>
              <a:gd name="T102" fmla="*/ 172 w 176"/>
              <a:gd name="T103" fmla="*/ 14 h 67"/>
              <a:gd name="T104" fmla="*/ 172 w 176"/>
              <a:gd name="T105" fmla="*/ 14 h 67"/>
              <a:gd name="T106" fmla="*/ 168 w 176"/>
              <a:gd name="T107" fmla="*/ 15 h 67"/>
              <a:gd name="T108" fmla="*/ 168 w 176"/>
              <a:gd name="T109" fmla="*/ 15 h 67"/>
              <a:gd name="T110" fmla="*/ 162 w 176"/>
              <a:gd name="T111" fmla="*/ 11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76" h="67">
                <a:moveTo>
                  <a:pt x="1" y="61"/>
                </a:moveTo>
                <a:cubicBezTo>
                  <a:pt x="0" y="57"/>
                  <a:pt x="3" y="54"/>
                  <a:pt x="7" y="53"/>
                </a:cubicBezTo>
                <a:cubicBezTo>
                  <a:pt x="7" y="53"/>
                  <a:pt x="7" y="53"/>
                  <a:pt x="7" y="53"/>
                </a:cubicBezTo>
                <a:cubicBezTo>
                  <a:pt x="11" y="53"/>
                  <a:pt x="14" y="55"/>
                  <a:pt x="15" y="59"/>
                </a:cubicBezTo>
                <a:cubicBezTo>
                  <a:pt x="15" y="59"/>
                  <a:pt x="15" y="59"/>
                  <a:pt x="15" y="59"/>
                </a:cubicBezTo>
                <a:cubicBezTo>
                  <a:pt x="15" y="63"/>
                  <a:pt x="13" y="67"/>
                  <a:pt x="9" y="67"/>
                </a:cubicBezTo>
                <a:cubicBezTo>
                  <a:pt x="9" y="67"/>
                  <a:pt x="9" y="67"/>
                  <a:pt x="9" y="67"/>
                </a:cubicBezTo>
                <a:cubicBezTo>
                  <a:pt x="9" y="67"/>
                  <a:pt x="9" y="67"/>
                  <a:pt x="9" y="67"/>
                </a:cubicBezTo>
                <a:cubicBezTo>
                  <a:pt x="9" y="67"/>
                  <a:pt x="9" y="67"/>
                  <a:pt x="9" y="67"/>
                </a:cubicBezTo>
                <a:cubicBezTo>
                  <a:pt x="9" y="67"/>
                  <a:pt x="8" y="67"/>
                  <a:pt x="8" y="67"/>
                </a:cubicBezTo>
                <a:cubicBezTo>
                  <a:pt x="8" y="67"/>
                  <a:pt x="8" y="67"/>
                  <a:pt x="8" y="67"/>
                </a:cubicBezTo>
                <a:cubicBezTo>
                  <a:pt x="5" y="67"/>
                  <a:pt x="2" y="65"/>
                  <a:pt x="1" y="61"/>
                </a:cubicBezTo>
                <a:close/>
                <a:moveTo>
                  <a:pt x="43" y="54"/>
                </a:moveTo>
                <a:cubicBezTo>
                  <a:pt x="42" y="50"/>
                  <a:pt x="44" y="46"/>
                  <a:pt x="48" y="45"/>
                </a:cubicBezTo>
                <a:cubicBezTo>
                  <a:pt x="48" y="45"/>
                  <a:pt x="48" y="45"/>
                  <a:pt x="48" y="45"/>
                </a:cubicBezTo>
                <a:cubicBezTo>
                  <a:pt x="52" y="45"/>
                  <a:pt x="55" y="47"/>
                  <a:pt x="56" y="51"/>
                </a:cubicBezTo>
                <a:cubicBezTo>
                  <a:pt x="56" y="51"/>
                  <a:pt x="56" y="51"/>
                  <a:pt x="56" y="51"/>
                </a:cubicBezTo>
                <a:cubicBezTo>
                  <a:pt x="57" y="54"/>
                  <a:pt x="55" y="58"/>
                  <a:pt x="51" y="59"/>
                </a:cubicBezTo>
                <a:cubicBezTo>
                  <a:pt x="51" y="59"/>
                  <a:pt x="51" y="59"/>
                  <a:pt x="51" y="59"/>
                </a:cubicBezTo>
                <a:cubicBezTo>
                  <a:pt x="51" y="59"/>
                  <a:pt x="50" y="59"/>
                  <a:pt x="50" y="59"/>
                </a:cubicBezTo>
                <a:cubicBezTo>
                  <a:pt x="50" y="59"/>
                  <a:pt x="50" y="59"/>
                  <a:pt x="50" y="59"/>
                </a:cubicBezTo>
                <a:cubicBezTo>
                  <a:pt x="46" y="59"/>
                  <a:pt x="43" y="57"/>
                  <a:pt x="43" y="54"/>
                </a:cubicBezTo>
                <a:close/>
                <a:moveTo>
                  <a:pt x="84" y="43"/>
                </a:moveTo>
                <a:cubicBezTo>
                  <a:pt x="82" y="39"/>
                  <a:pt x="84" y="35"/>
                  <a:pt x="88" y="34"/>
                </a:cubicBezTo>
                <a:cubicBezTo>
                  <a:pt x="88" y="34"/>
                  <a:pt x="88" y="34"/>
                  <a:pt x="88" y="34"/>
                </a:cubicBezTo>
                <a:cubicBezTo>
                  <a:pt x="92" y="33"/>
                  <a:pt x="96" y="35"/>
                  <a:pt x="97" y="39"/>
                </a:cubicBezTo>
                <a:cubicBezTo>
                  <a:pt x="97" y="39"/>
                  <a:pt x="97" y="39"/>
                  <a:pt x="97" y="39"/>
                </a:cubicBezTo>
                <a:cubicBezTo>
                  <a:pt x="98" y="42"/>
                  <a:pt x="96" y="46"/>
                  <a:pt x="92" y="47"/>
                </a:cubicBezTo>
                <a:cubicBezTo>
                  <a:pt x="92" y="47"/>
                  <a:pt x="92" y="47"/>
                  <a:pt x="92" y="47"/>
                </a:cubicBezTo>
                <a:cubicBezTo>
                  <a:pt x="92" y="48"/>
                  <a:pt x="91" y="48"/>
                  <a:pt x="90" y="48"/>
                </a:cubicBezTo>
                <a:cubicBezTo>
                  <a:pt x="90" y="48"/>
                  <a:pt x="90" y="48"/>
                  <a:pt x="90" y="48"/>
                </a:cubicBezTo>
                <a:cubicBezTo>
                  <a:pt x="87" y="48"/>
                  <a:pt x="85" y="46"/>
                  <a:pt x="84" y="43"/>
                </a:cubicBezTo>
                <a:close/>
                <a:moveTo>
                  <a:pt x="124" y="29"/>
                </a:moveTo>
                <a:cubicBezTo>
                  <a:pt x="122" y="25"/>
                  <a:pt x="124" y="21"/>
                  <a:pt x="127" y="20"/>
                </a:cubicBezTo>
                <a:cubicBezTo>
                  <a:pt x="127" y="20"/>
                  <a:pt x="127" y="20"/>
                  <a:pt x="127" y="20"/>
                </a:cubicBezTo>
                <a:cubicBezTo>
                  <a:pt x="131" y="18"/>
                  <a:pt x="135" y="20"/>
                  <a:pt x="136" y="23"/>
                </a:cubicBezTo>
                <a:cubicBezTo>
                  <a:pt x="136" y="23"/>
                  <a:pt x="136" y="23"/>
                  <a:pt x="136" y="23"/>
                </a:cubicBezTo>
                <a:cubicBezTo>
                  <a:pt x="138" y="27"/>
                  <a:pt x="136" y="31"/>
                  <a:pt x="133" y="33"/>
                </a:cubicBezTo>
                <a:cubicBezTo>
                  <a:pt x="133" y="33"/>
                  <a:pt x="133" y="33"/>
                  <a:pt x="133" y="33"/>
                </a:cubicBezTo>
                <a:cubicBezTo>
                  <a:pt x="133" y="33"/>
                  <a:pt x="133" y="33"/>
                  <a:pt x="133" y="33"/>
                </a:cubicBezTo>
                <a:cubicBezTo>
                  <a:pt x="133" y="33"/>
                  <a:pt x="133" y="33"/>
                  <a:pt x="133" y="33"/>
                </a:cubicBezTo>
                <a:cubicBezTo>
                  <a:pt x="132" y="33"/>
                  <a:pt x="131" y="33"/>
                  <a:pt x="130" y="33"/>
                </a:cubicBezTo>
                <a:cubicBezTo>
                  <a:pt x="130" y="33"/>
                  <a:pt x="130" y="33"/>
                  <a:pt x="130" y="33"/>
                </a:cubicBezTo>
                <a:cubicBezTo>
                  <a:pt x="127" y="33"/>
                  <a:pt x="125" y="31"/>
                  <a:pt x="124" y="29"/>
                </a:cubicBezTo>
                <a:close/>
                <a:moveTo>
                  <a:pt x="162" y="11"/>
                </a:moveTo>
                <a:cubicBezTo>
                  <a:pt x="160" y="8"/>
                  <a:pt x="162" y="4"/>
                  <a:pt x="165" y="2"/>
                </a:cubicBezTo>
                <a:cubicBezTo>
                  <a:pt x="165" y="2"/>
                  <a:pt x="165" y="2"/>
                  <a:pt x="165" y="2"/>
                </a:cubicBezTo>
                <a:cubicBezTo>
                  <a:pt x="169" y="0"/>
                  <a:pt x="173" y="1"/>
                  <a:pt x="175" y="5"/>
                </a:cubicBezTo>
                <a:cubicBezTo>
                  <a:pt x="175" y="5"/>
                  <a:pt x="175" y="5"/>
                  <a:pt x="175" y="5"/>
                </a:cubicBezTo>
                <a:cubicBezTo>
                  <a:pt x="176" y="8"/>
                  <a:pt x="175" y="13"/>
                  <a:pt x="172" y="14"/>
                </a:cubicBezTo>
                <a:cubicBezTo>
                  <a:pt x="172" y="14"/>
                  <a:pt x="172" y="14"/>
                  <a:pt x="172" y="14"/>
                </a:cubicBezTo>
                <a:cubicBezTo>
                  <a:pt x="172" y="14"/>
                  <a:pt x="172" y="14"/>
                  <a:pt x="172" y="14"/>
                </a:cubicBezTo>
                <a:cubicBezTo>
                  <a:pt x="172" y="14"/>
                  <a:pt x="172" y="14"/>
                  <a:pt x="172" y="14"/>
                </a:cubicBezTo>
                <a:cubicBezTo>
                  <a:pt x="171" y="15"/>
                  <a:pt x="169" y="15"/>
                  <a:pt x="168" y="15"/>
                </a:cubicBezTo>
                <a:cubicBezTo>
                  <a:pt x="168" y="15"/>
                  <a:pt x="168" y="15"/>
                  <a:pt x="168" y="15"/>
                </a:cubicBezTo>
                <a:cubicBezTo>
                  <a:pt x="166" y="15"/>
                  <a:pt x="163" y="14"/>
                  <a:pt x="162" y="1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A3AD939D-C5B5-4C6F-BD7D-EE0A492759C4}"/>
              </a:ext>
            </a:extLst>
          </p:cNvPr>
          <p:cNvSpPr>
            <a:spLocks noEditPoints="1"/>
          </p:cNvSpPr>
          <p:nvPr/>
        </p:nvSpPr>
        <p:spPr bwMode="auto">
          <a:xfrm>
            <a:off x="6922265" y="2878543"/>
            <a:ext cx="270256" cy="357720"/>
          </a:xfrm>
          <a:custGeom>
            <a:avLst/>
            <a:gdLst>
              <a:gd name="T0" fmla="*/ 2 w 115"/>
              <a:gd name="T1" fmla="*/ 149 h 152"/>
              <a:gd name="T2" fmla="*/ 2 w 115"/>
              <a:gd name="T3" fmla="*/ 140 h 152"/>
              <a:gd name="T4" fmla="*/ 2 w 115"/>
              <a:gd name="T5" fmla="*/ 140 h 152"/>
              <a:gd name="T6" fmla="*/ 12 w 115"/>
              <a:gd name="T7" fmla="*/ 140 h 152"/>
              <a:gd name="T8" fmla="*/ 12 w 115"/>
              <a:gd name="T9" fmla="*/ 140 h 152"/>
              <a:gd name="T10" fmla="*/ 12 w 115"/>
              <a:gd name="T11" fmla="*/ 150 h 152"/>
              <a:gd name="T12" fmla="*/ 12 w 115"/>
              <a:gd name="T13" fmla="*/ 150 h 152"/>
              <a:gd name="T14" fmla="*/ 7 w 115"/>
              <a:gd name="T15" fmla="*/ 152 h 152"/>
              <a:gd name="T16" fmla="*/ 7 w 115"/>
              <a:gd name="T17" fmla="*/ 152 h 152"/>
              <a:gd name="T18" fmla="*/ 2 w 115"/>
              <a:gd name="T19" fmla="*/ 149 h 152"/>
              <a:gd name="T20" fmla="*/ 32 w 115"/>
              <a:gd name="T21" fmla="*/ 119 h 152"/>
              <a:gd name="T22" fmla="*/ 31 w 115"/>
              <a:gd name="T23" fmla="*/ 109 h 152"/>
              <a:gd name="T24" fmla="*/ 31 w 115"/>
              <a:gd name="T25" fmla="*/ 109 h 152"/>
              <a:gd name="T26" fmla="*/ 41 w 115"/>
              <a:gd name="T27" fmla="*/ 108 h 152"/>
              <a:gd name="T28" fmla="*/ 41 w 115"/>
              <a:gd name="T29" fmla="*/ 108 h 152"/>
              <a:gd name="T30" fmla="*/ 42 w 115"/>
              <a:gd name="T31" fmla="*/ 118 h 152"/>
              <a:gd name="T32" fmla="*/ 42 w 115"/>
              <a:gd name="T33" fmla="*/ 118 h 152"/>
              <a:gd name="T34" fmla="*/ 36 w 115"/>
              <a:gd name="T35" fmla="*/ 121 h 152"/>
              <a:gd name="T36" fmla="*/ 36 w 115"/>
              <a:gd name="T37" fmla="*/ 121 h 152"/>
              <a:gd name="T38" fmla="*/ 32 w 115"/>
              <a:gd name="T39" fmla="*/ 119 h 152"/>
              <a:gd name="T40" fmla="*/ 58 w 115"/>
              <a:gd name="T41" fmla="*/ 86 h 152"/>
              <a:gd name="T42" fmla="*/ 57 w 115"/>
              <a:gd name="T43" fmla="*/ 76 h 152"/>
              <a:gd name="T44" fmla="*/ 57 w 115"/>
              <a:gd name="T45" fmla="*/ 76 h 152"/>
              <a:gd name="T46" fmla="*/ 67 w 115"/>
              <a:gd name="T47" fmla="*/ 75 h 152"/>
              <a:gd name="T48" fmla="*/ 67 w 115"/>
              <a:gd name="T49" fmla="*/ 75 h 152"/>
              <a:gd name="T50" fmla="*/ 68 w 115"/>
              <a:gd name="T51" fmla="*/ 85 h 152"/>
              <a:gd name="T52" fmla="*/ 68 w 115"/>
              <a:gd name="T53" fmla="*/ 85 h 152"/>
              <a:gd name="T54" fmla="*/ 63 w 115"/>
              <a:gd name="T55" fmla="*/ 87 h 152"/>
              <a:gd name="T56" fmla="*/ 63 w 115"/>
              <a:gd name="T57" fmla="*/ 87 h 152"/>
              <a:gd name="T58" fmla="*/ 58 w 115"/>
              <a:gd name="T59" fmla="*/ 86 h 152"/>
              <a:gd name="T60" fmla="*/ 82 w 115"/>
              <a:gd name="T61" fmla="*/ 51 h 152"/>
              <a:gd name="T62" fmla="*/ 80 w 115"/>
              <a:gd name="T63" fmla="*/ 42 h 152"/>
              <a:gd name="T64" fmla="*/ 80 w 115"/>
              <a:gd name="T65" fmla="*/ 42 h 152"/>
              <a:gd name="T66" fmla="*/ 90 w 115"/>
              <a:gd name="T67" fmla="*/ 39 h 152"/>
              <a:gd name="T68" fmla="*/ 90 w 115"/>
              <a:gd name="T69" fmla="*/ 39 h 152"/>
              <a:gd name="T70" fmla="*/ 92 w 115"/>
              <a:gd name="T71" fmla="*/ 49 h 152"/>
              <a:gd name="T72" fmla="*/ 92 w 115"/>
              <a:gd name="T73" fmla="*/ 49 h 152"/>
              <a:gd name="T74" fmla="*/ 92 w 115"/>
              <a:gd name="T75" fmla="*/ 49 h 152"/>
              <a:gd name="T76" fmla="*/ 92 w 115"/>
              <a:gd name="T77" fmla="*/ 49 h 152"/>
              <a:gd name="T78" fmla="*/ 86 w 115"/>
              <a:gd name="T79" fmla="*/ 52 h 152"/>
              <a:gd name="T80" fmla="*/ 86 w 115"/>
              <a:gd name="T81" fmla="*/ 52 h 152"/>
              <a:gd name="T82" fmla="*/ 82 w 115"/>
              <a:gd name="T83" fmla="*/ 51 h 152"/>
              <a:gd name="T84" fmla="*/ 103 w 115"/>
              <a:gd name="T85" fmla="*/ 14 h 152"/>
              <a:gd name="T86" fmla="*/ 100 w 115"/>
              <a:gd name="T87" fmla="*/ 5 h 152"/>
              <a:gd name="T88" fmla="*/ 100 w 115"/>
              <a:gd name="T89" fmla="*/ 5 h 152"/>
              <a:gd name="T90" fmla="*/ 110 w 115"/>
              <a:gd name="T91" fmla="*/ 2 h 152"/>
              <a:gd name="T92" fmla="*/ 110 w 115"/>
              <a:gd name="T93" fmla="*/ 2 h 152"/>
              <a:gd name="T94" fmla="*/ 113 w 115"/>
              <a:gd name="T95" fmla="*/ 11 h 152"/>
              <a:gd name="T96" fmla="*/ 113 w 115"/>
              <a:gd name="T97" fmla="*/ 11 h 152"/>
              <a:gd name="T98" fmla="*/ 107 w 115"/>
              <a:gd name="T99" fmla="*/ 15 h 152"/>
              <a:gd name="T100" fmla="*/ 107 w 115"/>
              <a:gd name="T101" fmla="*/ 15 h 152"/>
              <a:gd name="T102" fmla="*/ 103 w 115"/>
              <a:gd name="T103" fmla="*/ 14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5" h="152">
                <a:moveTo>
                  <a:pt x="2" y="149"/>
                </a:moveTo>
                <a:cubicBezTo>
                  <a:pt x="0" y="147"/>
                  <a:pt x="0" y="142"/>
                  <a:pt x="2" y="140"/>
                </a:cubicBezTo>
                <a:cubicBezTo>
                  <a:pt x="2" y="140"/>
                  <a:pt x="2" y="140"/>
                  <a:pt x="2" y="140"/>
                </a:cubicBezTo>
                <a:cubicBezTo>
                  <a:pt x="5" y="137"/>
                  <a:pt x="10" y="137"/>
                  <a:pt x="12" y="140"/>
                </a:cubicBezTo>
                <a:cubicBezTo>
                  <a:pt x="12" y="140"/>
                  <a:pt x="12" y="140"/>
                  <a:pt x="12" y="140"/>
                </a:cubicBezTo>
                <a:cubicBezTo>
                  <a:pt x="15" y="142"/>
                  <a:pt x="15" y="147"/>
                  <a:pt x="12" y="150"/>
                </a:cubicBezTo>
                <a:cubicBezTo>
                  <a:pt x="12" y="150"/>
                  <a:pt x="12" y="150"/>
                  <a:pt x="12" y="150"/>
                </a:cubicBezTo>
                <a:cubicBezTo>
                  <a:pt x="11" y="151"/>
                  <a:pt x="9" y="152"/>
                  <a:pt x="7" y="152"/>
                </a:cubicBezTo>
                <a:cubicBezTo>
                  <a:pt x="7" y="152"/>
                  <a:pt x="7" y="152"/>
                  <a:pt x="7" y="152"/>
                </a:cubicBezTo>
                <a:cubicBezTo>
                  <a:pt x="6" y="152"/>
                  <a:pt x="4" y="151"/>
                  <a:pt x="2" y="149"/>
                </a:cubicBezTo>
                <a:close/>
                <a:moveTo>
                  <a:pt x="32" y="119"/>
                </a:moveTo>
                <a:cubicBezTo>
                  <a:pt x="29" y="116"/>
                  <a:pt x="28" y="112"/>
                  <a:pt x="31" y="109"/>
                </a:cubicBezTo>
                <a:cubicBezTo>
                  <a:pt x="31" y="109"/>
                  <a:pt x="31" y="109"/>
                  <a:pt x="31" y="109"/>
                </a:cubicBezTo>
                <a:cubicBezTo>
                  <a:pt x="34" y="106"/>
                  <a:pt x="38" y="106"/>
                  <a:pt x="41" y="108"/>
                </a:cubicBezTo>
                <a:cubicBezTo>
                  <a:pt x="41" y="108"/>
                  <a:pt x="41" y="108"/>
                  <a:pt x="41" y="108"/>
                </a:cubicBezTo>
                <a:cubicBezTo>
                  <a:pt x="44" y="111"/>
                  <a:pt x="44" y="115"/>
                  <a:pt x="42" y="118"/>
                </a:cubicBezTo>
                <a:cubicBezTo>
                  <a:pt x="42" y="118"/>
                  <a:pt x="42" y="118"/>
                  <a:pt x="42" y="118"/>
                </a:cubicBezTo>
                <a:cubicBezTo>
                  <a:pt x="40" y="120"/>
                  <a:pt x="38" y="121"/>
                  <a:pt x="36" y="121"/>
                </a:cubicBezTo>
                <a:cubicBezTo>
                  <a:pt x="36" y="121"/>
                  <a:pt x="36" y="121"/>
                  <a:pt x="36" y="121"/>
                </a:cubicBezTo>
                <a:cubicBezTo>
                  <a:pt x="35" y="121"/>
                  <a:pt x="33" y="120"/>
                  <a:pt x="32" y="119"/>
                </a:cubicBezTo>
                <a:close/>
                <a:moveTo>
                  <a:pt x="58" y="86"/>
                </a:moveTo>
                <a:cubicBezTo>
                  <a:pt x="55" y="84"/>
                  <a:pt x="55" y="79"/>
                  <a:pt x="57" y="76"/>
                </a:cubicBezTo>
                <a:cubicBezTo>
                  <a:pt x="57" y="76"/>
                  <a:pt x="57" y="76"/>
                  <a:pt x="57" y="76"/>
                </a:cubicBezTo>
                <a:cubicBezTo>
                  <a:pt x="59" y="73"/>
                  <a:pt x="64" y="73"/>
                  <a:pt x="67" y="75"/>
                </a:cubicBezTo>
                <a:cubicBezTo>
                  <a:pt x="67" y="75"/>
                  <a:pt x="67" y="75"/>
                  <a:pt x="67" y="75"/>
                </a:cubicBezTo>
                <a:cubicBezTo>
                  <a:pt x="70" y="77"/>
                  <a:pt x="71" y="81"/>
                  <a:pt x="68" y="85"/>
                </a:cubicBezTo>
                <a:cubicBezTo>
                  <a:pt x="68" y="85"/>
                  <a:pt x="68" y="85"/>
                  <a:pt x="68" y="85"/>
                </a:cubicBezTo>
                <a:cubicBezTo>
                  <a:pt x="67" y="86"/>
                  <a:pt x="65" y="87"/>
                  <a:pt x="63" y="87"/>
                </a:cubicBezTo>
                <a:cubicBezTo>
                  <a:pt x="63" y="87"/>
                  <a:pt x="63" y="87"/>
                  <a:pt x="63" y="87"/>
                </a:cubicBezTo>
                <a:cubicBezTo>
                  <a:pt x="61" y="87"/>
                  <a:pt x="60" y="87"/>
                  <a:pt x="58" y="86"/>
                </a:cubicBezTo>
                <a:close/>
                <a:moveTo>
                  <a:pt x="82" y="51"/>
                </a:moveTo>
                <a:cubicBezTo>
                  <a:pt x="79" y="49"/>
                  <a:pt x="78" y="45"/>
                  <a:pt x="80" y="42"/>
                </a:cubicBezTo>
                <a:cubicBezTo>
                  <a:pt x="80" y="42"/>
                  <a:pt x="80" y="42"/>
                  <a:pt x="80" y="42"/>
                </a:cubicBezTo>
                <a:cubicBezTo>
                  <a:pt x="82" y="38"/>
                  <a:pt x="86" y="37"/>
                  <a:pt x="90" y="39"/>
                </a:cubicBezTo>
                <a:cubicBezTo>
                  <a:pt x="90" y="39"/>
                  <a:pt x="90" y="39"/>
                  <a:pt x="90" y="39"/>
                </a:cubicBezTo>
                <a:cubicBezTo>
                  <a:pt x="93" y="41"/>
                  <a:pt x="94" y="46"/>
                  <a:pt x="92" y="49"/>
                </a:cubicBezTo>
                <a:cubicBezTo>
                  <a:pt x="92" y="49"/>
                  <a:pt x="92" y="49"/>
                  <a:pt x="92" y="49"/>
                </a:cubicBezTo>
                <a:cubicBezTo>
                  <a:pt x="92" y="49"/>
                  <a:pt x="92" y="49"/>
                  <a:pt x="92" y="49"/>
                </a:cubicBezTo>
                <a:cubicBezTo>
                  <a:pt x="92" y="49"/>
                  <a:pt x="92" y="49"/>
                  <a:pt x="92" y="49"/>
                </a:cubicBezTo>
                <a:cubicBezTo>
                  <a:pt x="91" y="51"/>
                  <a:pt x="88" y="52"/>
                  <a:pt x="86" y="52"/>
                </a:cubicBezTo>
                <a:cubicBezTo>
                  <a:pt x="86" y="52"/>
                  <a:pt x="86" y="52"/>
                  <a:pt x="86" y="52"/>
                </a:cubicBezTo>
                <a:cubicBezTo>
                  <a:pt x="85" y="52"/>
                  <a:pt x="84" y="52"/>
                  <a:pt x="82" y="51"/>
                </a:cubicBezTo>
                <a:close/>
                <a:moveTo>
                  <a:pt x="103" y="14"/>
                </a:moveTo>
                <a:cubicBezTo>
                  <a:pt x="100" y="13"/>
                  <a:pt x="99" y="8"/>
                  <a:pt x="100" y="5"/>
                </a:cubicBezTo>
                <a:cubicBezTo>
                  <a:pt x="100" y="5"/>
                  <a:pt x="100" y="5"/>
                  <a:pt x="100" y="5"/>
                </a:cubicBezTo>
                <a:cubicBezTo>
                  <a:pt x="102" y="2"/>
                  <a:pt x="106" y="0"/>
                  <a:pt x="110" y="2"/>
                </a:cubicBezTo>
                <a:cubicBezTo>
                  <a:pt x="110" y="2"/>
                  <a:pt x="110" y="2"/>
                  <a:pt x="110" y="2"/>
                </a:cubicBezTo>
                <a:cubicBezTo>
                  <a:pt x="113" y="4"/>
                  <a:pt x="115" y="8"/>
                  <a:pt x="113" y="11"/>
                </a:cubicBezTo>
                <a:cubicBezTo>
                  <a:pt x="113" y="11"/>
                  <a:pt x="113" y="11"/>
                  <a:pt x="113" y="11"/>
                </a:cubicBezTo>
                <a:cubicBezTo>
                  <a:pt x="112" y="14"/>
                  <a:pt x="109" y="15"/>
                  <a:pt x="107" y="15"/>
                </a:cubicBezTo>
                <a:cubicBezTo>
                  <a:pt x="107" y="15"/>
                  <a:pt x="107" y="15"/>
                  <a:pt x="107" y="15"/>
                </a:cubicBezTo>
                <a:cubicBezTo>
                  <a:pt x="106" y="15"/>
                  <a:pt x="104" y="15"/>
                  <a:pt x="103" y="1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FFC5FF4-D781-4672-8386-EB482812A422}"/>
              </a:ext>
            </a:extLst>
          </p:cNvPr>
          <p:cNvGrpSpPr>
            <a:grpSpLocks/>
          </p:cNvGrpSpPr>
          <p:nvPr/>
        </p:nvGrpSpPr>
        <p:grpSpPr bwMode="auto">
          <a:xfrm>
            <a:off x="7150262" y="2639735"/>
            <a:ext cx="178860" cy="181808"/>
            <a:chOff x="7800975" y="2763838"/>
            <a:chExt cx="288925" cy="293688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8C521B92-8E22-4BC1-8D37-584FAF203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6063" y="2832100"/>
              <a:ext cx="158750" cy="157164"/>
            </a:xfrm>
            <a:custGeom>
              <a:avLst/>
              <a:gdLst>
                <a:gd name="T0" fmla="*/ 27 w 42"/>
                <a:gd name="T1" fmla="*/ 3 h 41"/>
                <a:gd name="T2" fmla="*/ 38 w 42"/>
                <a:gd name="T3" fmla="*/ 26 h 41"/>
                <a:gd name="T4" fmla="*/ 15 w 42"/>
                <a:gd name="T5" fmla="*/ 38 h 41"/>
                <a:gd name="T6" fmla="*/ 4 w 42"/>
                <a:gd name="T7" fmla="*/ 15 h 41"/>
                <a:gd name="T8" fmla="*/ 27 w 42"/>
                <a:gd name="T9" fmla="*/ 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1">
                  <a:moveTo>
                    <a:pt x="27" y="3"/>
                  </a:moveTo>
                  <a:cubicBezTo>
                    <a:pt x="36" y="6"/>
                    <a:pt x="42" y="16"/>
                    <a:pt x="38" y="26"/>
                  </a:cubicBezTo>
                  <a:cubicBezTo>
                    <a:pt x="35" y="36"/>
                    <a:pt x="25" y="41"/>
                    <a:pt x="15" y="38"/>
                  </a:cubicBezTo>
                  <a:cubicBezTo>
                    <a:pt x="6" y="35"/>
                    <a:pt x="0" y="24"/>
                    <a:pt x="4" y="15"/>
                  </a:cubicBezTo>
                  <a:cubicBezTo>
                    <a:pt x="7" y="5"/>
                    <a:pt x="17" y="0"/>
                    <a:pt x="27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9" name="Freeform 15">
              <a:extLst>
                <a:ext uri="{FF2B5EF4-FFF2-40B4-BE49-F238E27FC236}">
                  <a16:creationId xmlns:a16="http://schemas.microsoft.com/office/drawing/2014/main" id="{1689387E-D33F-42AE-8998-2DC734FC0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5" y="2763838"/>
              <a:ext cx="288925" cy="293688"/>
            </a:xfrm>
            <a:custGeom>
              <a:avLst/>
              <a:gdLst>
                <a:gd name="T0" fmla="*/ 49 w 76"/>
                <a:gd name="T1" fmla="*/ 6 h 77"/>
                <a:gd name="T2" fmla="*/ 70 w 76"/>
                <a:gd name="T3" fmla="*/ 49 h 77"/>
                <a:gd name="T4" fmla="*/ 28 w 76"/>
                <a:gd name="T5" fmla="*/ 71 h 77"/>
                <a:gd name="T6" fmla="*/ 6 w 76"/>
                <a:gd name="T7" fmla="*/ 28 h 77"/>
                <a:gd name="T8" fmla="*/ 49 w 76"/>
                <a:gd name="T9" fmla="*/ 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77">
                  <a:moveTo>
                    <a:pt x="49" y="6"/>
                  </a:moveTo>
                  <a:cubicBezTo>
                    <a:pt x="66" y="12"/>
                    <a:pt x="76" y="31"/>
                    <a:pt x="70" y="49"/>
                  </a:cubicBezTo>
                  <a:cubicBezTo>
                    <a:pt x="65" y="67"/>
                    <a:pt x="45" y="77"/>
                    <a:pt x="28" y="71"/>
                  </a:cubicBezTo>
                  <a:cubicBezTo>
                    <a:pt x="10" y="65"/>
                    <a:pt x="0" y="46"/>
                    <a:pt x="6" y="28"/>
                  </a:cubicBezTo>
                  <a:cubicBezTo>
                    <a:pt x="11" y="10"/>
                    <a:pt x="31" y="0"/>
                    <a:pt x="49" y="6"/>
                  </a:cubicBezTo>
                  <a:close/>
                </a:path>
              </a:pathLst>
            </a:custGeom>
            <a:noFill/>
            <a:ln w="25400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67E23F6-98E3-4BBC-8F8E-782C62FA0FB4}"/>
              </a:ext>
            </a:extLst>
          </p:cNvPr>
          <p:cNvGrpSpPr>
            <a:grpSpLocks/>
          </p:cNvGrpSpPr>
          <p:nvPr/>
        </p:nvGrpSpPr>
        <p:grpSpPr bwMode="auto">
          <a:xfrm>
            <a:off x="6709991" y="3243142"/>
            <a:ext cx="180826" cy="181808"/>
            <a:chOff x="7089775" y="3738563"/>
            <a:chExt cx="292100" cy="293688"/>
          </a:xfrm>
        </p:grpSpPr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50A44624-A3DC-4D4B-8FC8-ACC971365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039" y="3808413"/>
              <a:ext cx="160336" cy="155577"/>
            </a:xfrm>
            <a:custGeom>
              <a:avLst/>
              <a:gdLst>
                <a:gd name="T0" fmla="*/ 36 w 42"/>
                <a:gd name="T1" fmla="*/ 10 h 41"/>
                <a:gd name="T2" fmla="*/ 32 w 42"/>
                <a:gd name="T3" fmla="*/ 35 h 41"/>
                <a:gd name="T4" fmla="*/ 6 w 42"/>
                <a:gd name="T5" fmla="*/ 31 h 41"/>
                <a:gd name="T6" fmla="*/ 10 w 42"/>
                <a:gd name="T7" fmla="*/ 6 h 41"/>
                <a:gd name="T8" fmla="*/ 36 w 42"/>
                <a:gd name="T9" fmla="*/ 1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41">
                  <a:moveTo>
                    <a:pt x="36" y="10"/>
                  </a:moveTo>
                  <a:cubicBezTo>
                    <a:pt x="42" y="18"/>
                    <a:pt x="40" y="29"/>
                    <a:pt x="32" y="35"/>
                  </a:cubicBezTo>
                  <a:cubicBezTo>
                    <a:pt x="23" y="41"/>
                    <a:pt x="12" y="40"/>
                    <a:pt x="6" y="31"/>
                  </a:cubicBezTo>
                  <a:cubicBezTo>
                    <a:pt x="0" y="23"/>
                    <a:pt x="2" y="12"/>
                    <a:pt x="10" y="6"/>
                  </a:cubicBezTo>
                  <a:cubicBezTo>
                    <a:pt x="18" y="0"/>
                    <a:pt x="30" y="2"/>
                    <a:pt x="36" y="1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17DBEAB2-5B88-4230-A605-1B2ECD059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775" y="3738563"/>
              <a:ext cx="292100" cy="293688"/>
            </a:xfrm>
            <a:custGeom>
              <a:avLst/>
              <a:gdLst>
                <a:gd name="T0" fmla="*/ 66 w 77"/>
                <a:gd name="T1" fmla="*/ 19 h 77"/>
                <a:gd name="T2" fmla="*/ 59 w 77"/>
                <a:gd name="T3" fmla="*/ 66 h 77"/>
                <a:gd name="T4" fmla="*/ 11 w 77"/>
                <a:gd name="T5" fmla="*/ 59 h 77"/>
                <a:gd name="T6" fmla="*/ 19 w 77"/>
                <a:gd name="T7" fmla="*/ 11 h 77"/>
                <a:gd name="T8" fmla="*/ 66 w 77"/>
                <a:gd name="T9" fmla="*/ 1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7">
                  <a:moveTo>
                    <a:pt x="66" y="19"/>
                  </a:moveTo>
                  <a:cubicBezTo>
                    <a:pt x="77" y="34"/>
                    <a:pt x="74" y="55"/>
                    <a:pt x="59" y="66"/>
                  </a:cubicBezTo>
                  <a:cubicBezTo>
                    <a:pt x="44" y="77"/>
                    <a:pt x="22" y="74"/>
                    <a:pt x="11" y="59"/>
                  </a:cubicBezTo>
                  <a:cubicBezTo>
                    <a:pt x="0" y="43"/>
                    <a:pt x="4" y="22"/>
                    <a:pt x="19" y="11"/>
                  </a:cubicBezTo>
                  <a:cubicBezTo>
                    <a:pt x="34" y="0"/>
                    <a:pt x="55" y="3"/>
                    <a:pt x="66" y="19"/>
                  </a:cubicBezTo>
                  <a:close/>
                </a:path>
              </a:pathLst>
            </a:custGeom>
            <a:noFill/>
            <a:ln w="25400" cap="flat">
              <a:solidFill>
                <a:schemeClr val="accent4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98DDF3C-30D7-4849-8336-866C16CA938E}"/>
              </a:ext>
            </a:extLst>
          </p:cNvPr>
          <p:cNvGrpSpPr>
            <a:grpSpLocks/>
          </p:cNvGrpSpPr>
          <p:nvPr/>
        </p:nvGrpSpPr>
        <p:grpSpPr bwMode="auto">
          <a:xfrm>
            <a:off x="6012240" y="3483915"/>
            <a:ext cx="160188" cy="160188"/>
            <a:chOff x="5962650" y="4127500"/>
            <a:chExt cx="258763" cy="258763"/>
          </a:xfrm>
        </p:grpSpPr>
        <p:sp>
          <p:nvSpPr>
            <p:cNvPr id="14" name="Oval 12">
              <a:extLst>
                <a:ext uri="{FF2B5EF4-FFF2-40B4-BE49-F238E27FC236}">
                  <a16:creationId xmlns:a16="http://schemas.microsoft.com/office/drawing/2014/main" id="{7EF7DA83-88CD-4852-A0C8-A68B1F7BE8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19800" y="4187825"/>
              <a:ext cx="141288" cy="14128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15" name="Oval 17">
              <a:extLst>
                <a:ext uri="{FF2B5EF4-FFF2-40B4-BE49-F238E27FC236}">
                  <a16:creationId xmlns:a16="http://schemas.microsoft.com/office/drawing/2014/main" id="{6236F0F2-EE7D-43A5-B415-74E584888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2650" y="4127500"/>
              <a:ext cx="258763" cy="258763"/>
            </a:xfrm>
            <a:prstGeom prst="ellipse">
              <a:avLst/>
            </a:prstGeom>
            <a:noFill/>
            <a:ln w="25400" cap="flat">
              <a:solidFill>
                <a:schemeClr val="accent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BC57043-0B51-4765-A959-E24CF4942631}"/>
              </a:ext>
            </a:extLst>
          </p:cNvPr>
          <p:cNvGrpSpPr>
            <a:grpSpLocks/>
          </p:cNvGrpSpPr>
          <p:nvPr/>
        </p:nvGrpSpPr>
        <p:grpSpPr bwMode="auto">
          <a:xfrm>
            <a:off x="5291887" y="3243142"/>
            <a:ext cx="180826" cy="181808"/>
            <a:chOff x="4799013" y="3738563"/>
            <a:chExt cx="292100" cy="293688"/>
          </a:xfrm>
        </p:grpSpPr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id="{FFAF9FCB-7986-49AA-9821-8F5C9B48C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7275" y="3808413"/>
              <a:ext cx="155575" cy="155576"/>
            </a:xfrm>
            <a:custGeom>
              <a:avLst/>
              <a:gdLst>
                <a:gd name="T0" fmla="*/ 35 w 41"/>
                <a:gd name="T1" fmla="*/ 31 h 41"/>
                <a:gd name="T2" fmla="*/ 10 w 41"/>
                <a:gd name="T3" fmla="*/ 35 h 41"/>
                <a:gd name="T4" fmla="*/ 6 w 41"/>
                <a:gd name="T5" fmla="*/ 10 h 41"/>
                <a:gd name="T6" fmla="*/ 31 w 41"/>
                <a:gd name="T7" fmla="*/ 6 h 41"/>
                <a:gd name="T8" fmla="*/ 35 w 41"/>
                <a:gd name="T9" fmla="*/ 3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35" y="31"/>
                  </a:moveTo>
                  <a:cubicBezTo>
                    <a:pt x="29" y="40"/>
                    <a:pt x="18" y="41"/>
                    <a:pt x="10" y="35"/>
                  </a:cubicBezTo>
                  <a:cubicBezTo>
                    <a:pt x="2" y="29"/>
                    <a:pt x="0" y="18"/>
                    <a:pt x="6" y="10"/>
                  </a:cubicBezTo>
                  <a:cubicBezTo>
                    <a:pt x="12" y="2"/>
                    <a:pt x="23" y="0"/>
                    <a:pt x="31" y="6"/>
                  </a:cubicBezTo>
                  <a:cubicBezTo>
                    <a:pt x="40" y="12"/>
                    <a:pt x="41" y="23"/>
                    <a:pt x="35" y="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A79A7F83-AE6E-407B-BA4E-755608D3E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013" y="3738563"/>
              <a:ext cx="292100" cy="293688"/>
            </a:xfrm>
            <a:custGeom>
              <a:avLst/>
              <a:gdLst>
                <a:gd name="T0" fmla="*/ 66 w 77"/>
                <a:gd name="T1" fmla="*/ 59 h 77"/>
                <a:gd name="T2" fmla="*/ 19 w 77"/>
                <a:gd name="T3" fmla="*/ 66 h 77"/>
                <a:gd name="T4" fmla="*/ 11 w 77"/>
                <a:gd name="T5" fmla="*/ 19 h 77"/>
                <a:gd name="T6" fmla="*/ 59 w 77"/>
                <a:gd name="T7" fmla="*/ 11 h 77"/>
                <a:gd name="T8" fmla="*/ 66 w 77"/>
                <a:gd name="T9" fmla="*/ 59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7">
                  <a:moveTo>
                    <a:pt x="66" y="59"/>
                  </a:moveTo>
                  <a:cubicBezTo>
                    <a:pt x="55" y="74"/>
                    <a:pt x="34" y="77"/>
                    <a:pt x="19" y="66"/>
                  </a:cubicBezTo>
                  <a:cubicBezTo>
                    <a:pt x="3" y="55"/>
                    <a:pt x="0" y="34"/>
                    <a:pt x="11" y="19"/>
                  </a:cubicBezTo>
                  <a:cubicBezTo>
                    <a:pt x="22" y="3"/>
                    <a:pt x="43" y="0"/>
                    <a:pt x="59" y="11"/>
                  </a:cubicBezTo>
                  <a:cubicBezTo>
                    <a:pt x="74" y="22"/>
                    <a:pt x="77" y="43"/>
                    <a:pt x="66" y="59"/>
                  </a:cubicBezTo>
                  <a:close/>
                </a:path>
              </a:pathLst>
            </a:custGeom>
            <a:noFill/>
            <a:ln w="25400" cap="flat">
              <a:solidFill>
                <a:schemeClr val="accent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FAB893B-807F-4265-A3DD-863D9BDA2248}"/>
              </a:ext>
            </a:extLst>
          </p:cNvPr>
          <p:cNvGrpSpPr>
            <a:grpSpLocks/>
          </p:cNvGrpSpPr>
          <p:nvPr/>
        </p:nvGrpSpPr>
        <p:grpSpPr bwMode="auto">
          <a:xfrm>
            <a:off x="4853581" y="2639735"/>
            <a:ext cx="181808" cy="181808"/>
            <a:chOff x="4090988" y="2763838"/>
            <a:chExt cx="293688" cy="293688"/>
          </a:xfrm>
        </p:grpSpPr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F2141188-9542-432E-AAC1-4DE8488A55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9250" y="2832100"/>
              <a:ext cx="155576" cy="157164"/>
            </a:xfrm>
            <a:custGeom>
              <a:avLst/>
              <a:gdLst>
                <a:gd name="T0" fmla="*/ 26 w 41"/>
                <a:gd name="T1" fmla="*/ 38 h 41"/>
                <a:gd name="T2" fmla="*/ 3 w 41"/>
                <a:gd name="T3" fmla="*/ 26 h 41"/>
                <a:gd name="T4" fmla="*/ 15 w 41"/>
                <a:gd name="T5" fmla="*/ 3 h 41"/>
                <a:gd name="T6" fmla="*/ 38 w 41"/>
                <a:gd name="T7" fmla="*/ 15 h 41"/>
                <a:gd name="T8" fmla="*/ 26 w 41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1">
                  <a:moveTo>
                    <a:pt x="26" y="38"/>
                  </a:moveTo>
                  <a:cubicBezTo>
                    <a:pt x="17" y="41"/>
                    <a:pt x="6" y="36"/>
                    <a:pt x="3" y="26"/>
                  </a:cubicBezTo>
                  <a:cubicBezTo>
                    <a:pt x="0" y="16"/>
                    <a:pt x="5" y="6"/>
                    <a:pt x="15" y="3"/>
                  </a:cubicBezTo>
                  <a:cubicBezTo>
                    <a:pt x="24" y="0"/>
                    <a:pt x="35" y="5"/>
                    <a:pt x="38" y="15"/>
                  </a:cubicBezTo>
                  <a:cubicBezTo>
                    <a:pt x="41" y="24"/>
                    <a:pt x="36" y="35"/>
                    <a:pt x="26" y="3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1D386519-A099-48BE-A9BC-409C9F150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0988" y="2763838"/>
              <a:ext cx="293688" cy="293688"/>
            </a:xfrm>
            <a:custGeom>
              <a:avLst/>
              <a:gdLst>
                <a:gd name="T0" fmla="*/ 49 w 77"/>
                <a:gd name="T1" fmla="*/ 71 h 77"/>
                <a:gd name="T2" fmla="*/ 6 w 77"/>
                <a:gd name="T3" fmla="*/ 49 h 77"/>
                <a:gd name="T4" fmla="*/ 28 w 77"/>
                <a:gd name="T5" fmla="*/ 6 h 77"/>
                <a:gd name="T6" fmla="*/ 71 w 77"/>
                <a:gd name="T7" fmla="*/ 28 h 77"/>
                <a:gd name="T8" fmla="*/ 49 w 77"/>
                <a:gd name="T9" fmla="*/ 7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77">
                  <a:moveTo>
                    <a:pt x="49" y="71"/>
                  </a:moveTo>
                  <a:cubicBezTo>
                    <a:pt x="31" y="77"/>
                    <a:pt x="12" y="67"/>
                    <a:pt x="6" y="49"/>
                  </a:cubicBezTo>
                  <a:cubicBezTo>
                    <a:pt x="0" y="31"/>
                    <a:pt x="10" y="12"/>
                    <a:pt x="28" y="6"/>
                  </a:cubicBezTo>
                  <a:cubicBezTo>
                    <a:pt x="46" y="0"/>
                    <a:pt x="65" y="10"/>
                    <a:pt x="71" y="28"/>
                  </a:cubicBezTo>
                  <a:cubicBezTo>
                    <a:pt x="77" y="46"/>
                    <a:pt x="67" y="65"/>
                    <a:pt x="49" y="71"/>
                  </a:cubicBezTo>
                  <a:close/>
                </a:path>
              </a:pathLst>
            </a:custGeom>
            <a:noFill/>
            <a:ln w="254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</p:grpSp>
      <p:sp>
        <p:nvSpPr>
          <p:cNvPr id="22" name="Freeform 20">
            <a:extLst>
              <a:ext uri="{FF2B5EF4-FFF2-40B4-BE49-F238E27FC236}">
                <a16:creationId xmlns:a16="http://schemas.microsoft.com/office/drawing/2014/main" id="{621ADC96-3AEB-4E9C-8468-5D593C254055}"/>
              </a:ext>
            </a:extLst>
          </p:cNvPr>
          <p:cNvSpPr>
            <a:spLocks/>
          </p:cNvSpPr>
          <p:nvPr/>
        </p:nvSpPr>
        <p:spPr bwMode="auto">
          <a:xfrm>
            <a:off x="7433293" y="2560132"/>
            <a:ext cx="909042" cy="857939"/>
          </a:xfrm>
          <a:custGeom>
            <a:avLst/>
            <a:gdLst>
              <a:gd name="T0" fmla="*/ 152 w 386"/>
              <a:gd name="T1" fmla="*/ 336 h 364"/>
              <a:gd name="T2" fmla="*/ 358 w 386"/>
              <a:gd name="T3" fmla="*/ 231 h 364"/>
              <a:gd name="T4" fmla="*/ 253 w 386"/>
              <a:gd name="T5" fmla="*/ 24 h 364"/>
              <a:gd name="T6" fmla="*/ 58 w 386"/>
              <a:gd name="T7" fmla="*/ 102 h 364"/>
              <a:gd name="T8" fmla="*/ 0 w 386"/>
              <a:gd name="T9" fmla="*/ 114 h 364"/>
              <a:gd name="T10" fmla="*/ 40 w 386"/>
              <a:gd name="T11" fmla="*/ 158 h 364"/>
              <a:gd name="T12" fmla="*/ 152 w 386"/>
              <a:gd name="T13" fmla="*/ 336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6" h="364">
                <a:moveTo>
                  <a:pt x="152" y="336"/>
                </a:moveTo>
                <a:cubicBezTo>
                  <a:pt x="238" y="364"/>
                  <a:pt x="330" y="317"/>
                  <a:pt x="358" y="231"/>
                </a:cubicBezTo>
                <a:cubicBezTo>
                  <a:pt x="386" y="145"/>
                  <a:pt x="339" y="52"/>
                  <a:pt x="253" y="24"/>
                </a:cubicBezTo>
                <a:cubicBezTo>
                  <a:pt x="176" y="0"/>
                  <a:pt x="95" y="34"/>
                  <a:pt x="58" y="102"/>
                </a:cubicBezTo>
                <a:cubicBezTo>
                  <a:pt x="0" y="114"/>
                  <a:pt x="0" y="114"/>
                  <a:pt x="0" y="114"/>
                </a:cubicBezTo>
                <a:cubicBezTo>
                  <a:pt x="40" y="158"/>
                  <a:pt x="40" y="158"/>
                  <a:pt x="40" y="158"/>
                </a:cubicBezTo>
                <a:cubicBezTo>
                  <a:pt x="29" y="235"/>
                  <a:pt x="75" y="311"/>
                  <a:pt x="152" y="33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23" name="Freeform 21">
            <a:extLst>
              <a:ext uri="{FF2B5EF4-FFF2-40B4-BE49-F238E27FC236}">
                <a16:creationId xmlns:a16="http://schemas.microsoft.com/office/drawing/2014/main" id="{8ABEF9FB-C83E-4189-AE19-7E9E32AF009F}"/>
              </a:ext>
            </a:extLst>
          </p:cNvPr>
          <p:cNvSpPr>
            <a:spLocks/>
          </p:cNvSpPr>
          <p:nvPr/>
        </p:nvSpPr>
        <p:spPr bwMode="auto">
          <a:xfrm>
            <a:off x="6811214" y="3483915"/>
            <a:ext cx="861869" cy="864818"/>
          </a:xfrm>
          <a:custGeom>
            <a:avLst/>
            <a:gdLst>
              <a:gd name="T0" fmla="*/ 48 w 366"/>
              <a:gd name="T1" fmla="*/ 278 h 367"/>
              <a:gd name="T2" fmla="*/ 276 w 366"/>
              <a:gd name="T3" fmla="*/ 314 h 367"/>
              <a:gd name="T4" fmla="*/ 313 w 366"/>
              <a:gd name="T5" fmla="*/ 85 h 367"/>
              <a:gd name="T6" fmla="*/ 109 w 366"/>
              <a:gd name="T7" fmla="*/ 34 h 367"/>
              <a:gd name="T8" fmla="*/ 55 w 366"/>
              <a:gd name="T9" fmla="*/ 10 h 367"/>
              <a:gd name="T10" fmla="*/ 62 w 366"/>
              <a:gd name="T11" fmla="*/ 69 h 367"/>
              <a:gd name="T12" fmla="*/ 48 w 366"/>
              <a:gd name="T13" fmla="*/ 278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6" h="367">
                <a:moveTo>
                  <a:pt x="48" y="278"/>
                </a:moveTo>
                <a:cubicBezTo>
                  <a:pt x="101" y="351"/>
                  <a:pt x="203" y="367"/>
                  <a:pt x="276" y="314"/>
                </a:cubicBezTo>
                <a:cubicBezTo>
                  <a:pt x="350" y="261"/>
                  <a:pt x="366" y="159"/>
                  <a:pt x="313" y="85"/>
                </a:cubicBezTo>
                <a:cubicBezTo>
                  <a:pt x="265" y="20"/>
                  <a:pt x="179" y="0"/>
                  <a:pt x="109" y="34"/>
                </a:cubicBezTo>
                <a:cubicBezTo>
                  <a:pt x="55" y="10"/>
                  <a:pt x="55" y="10"/>
                  <a:pt x="55" y="10"/>
                </a:cubicBezTo>
                <a:cubicBezTo>
                  <a:pt x="62" y="69"/>
                  <a:pt x="62" y="69"/>
                  <a:pt x="62" y="69"/>
                </a:cubicBezTo>
                <a:cubicBezTo>
                  <a:pt x="8" y="125"/>
                  <a:pt x="0" y="213"/>
                  <a:pt x="48" y="27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24" name="Freeform 22">
            <a:extLst>
              <a:ext uri="{FF2B5EF4-FFF2-40B4-BE49-F238E27FC236}">
                <a16:creationId xmlns:a16="http://schemas.microsoft.com/office/drawing/2014/main" id="{205C76F7-7532-4C53-B219-93D75C00B7E0}"/>
              </a:ext>
            </a:extLst>
          </p:cNvPr>
          <p:cNvSpPr>
            <a:spLocks/>
          </p:cNvSpPr>
          <p:nvPr/>
        </p:nvSpPr>
        <p:spPr bwMode="auto">
          <a:xfrm>
            <a:off x="5706606" y="3766946"/>
            <a:ext cx="772440" cy="886438"/>
          </a:xfrm>
          <a:custGeom>
            <a:avLst/>
            <a:gdLst>
              <a:gd name="T0" fmla="*/ 0 w 328"/>
              <a:gd name="T1" fmla="*/ 212 h 376"/>
              <a:gd name="T2" fmla="*/ 164 w 328"/>
              <a:gd name="T3" fmla="*/ 376 h 376"/>
              <a:gd name="T4" fmla="*/ 328 w 328"/>
              <a:gd name="T5" fmla="*/ 212 h 376"/>
              <a:gd name="T6" fmla="*/ 193 w 328"/>
              <a:gd name="T7" fmla="*/ 51 h 376"/>
              <a:gd name="T8" fmla="*/ 164 w 328"/>
              <a:gd name="T9" fmla="*/ 0 h 376"/>
              <a:gd name="T10" fmla="*/ 134 w 328"/>
              <a:gd name="T11" fmla="*/ 51 h 376"/>
              <a:gd name="T12" fmla="*/ 0 w 328"/>
              <a:gd name="T13" fmla="*/ 212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8" h="376">
                <a:moveTo>
                  <a:pt x="0" y="212"/>
                </a:moveTo>
                <a:cubicBezTo>
                  <a:pt x="0" y="302"/>
                  <a:pt x="73" y="376"/>
                  <a:pt x="164" y="376"/>
                </a:cubicBezTo>
                <a:cubicBezTo>
                  <a:pt x="254" y="376"/>
                  <a:pt x="328" y="302"/>
                  <a:pt x="328" y="212"/>
                </a:cubicBezTo>
                <a:cubicBezTo>
                  <a:pt x="328" y="132"/>
                  <a:pt x="270" y="65"/>
                  <a:pt x="193" y="51"/>
                </a:cubicBezTo>
                <a:cubicBezTo>
                  <a:pt x="164" y="0"/>
                  <a:pt x="164" y="0"/>
                  <a:pt x="164" y="0"/>
                </a:cubicBezTo>
                <a:cubicBezTo>
                  <a:pt x="134" y="51"/>
                  <a:pt x="134" y="51"/>
                  <a:pt x="134" y="51"/>
                </a:cubicBezTo>
                <a:cubicBezTo>
                  <a:pt x="58" y="65"/>
                  <a:pt x="0" y="132"/>
                  <a:pt x="0" y="2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25" name="Freeform 23">
            <a:extLst>
              <a:ext uri="{FF2B5EF4-FFF2-40B4-BE49-F238E27FC236}">
                <a16:creationId xmlns:a16="http://schemas.microsoft.com/office/drawing/2014/main" id="{DE3C355A-C95F-43D3-A7E0-F7D26164107E}"/>
              </a:ext>
            </a:extLst>
          </p:cNvPr>
          <p:cNvSpPr>
            <a:spLocks/>
          </p:cNvSpPr>
          <p:nvPr/>
        </p:nvSpPr>
        <p:spPr bwMode="auto">
          <a:xfrm>
            <a:off x="4511585" y="3483915"/>
            <a:ext cx="859904" cy="864818"/>
          </a:xfrm>
          <a:custGeom>
            <a:avLst/>
            <a:gdLst>
              <a:gd name="T0" fmla="*/ 318 w 365"/>
              <a:gd name="T1" fmla="*/ 278 h 367"/>
              <a:gd name="T2" fmla="*/ 89 w 365"/>
              <a:gd name="T3" fmla="*/ 314 h 367"/>
              <a:gd name="T4" fmla="*/ 53 w 365"/>
              <a:gd name="T5" fmla="*/ 85 h 367"/>
              <a:gd name="T6" fmla="*/ 256 w 365"/>
              <a:gd name="T7" fmla="*/ 34 h 367"/>
              <a:gd name="T8" fmla="*/ 310 w 365"/>
              <a:gd name="T9" fmla="*/ 10 h 367"/>
              <a:gd name="T10" fmla="*/ 304 w 365"/>
              <a:gd name="T11" fmla="*/ 69 h 367"/>
              <a:gd name="T12" fmla="*/ 318 w 365"/>
              <a:gd name="T13" fmla="*/ 278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5" h="367">
                <a:moveTo>
                  <a:pt x="318" y="278"/>
                </a:moveTo>
                <a:cubicBezTo>
                  <a:pt x="265" y="351"/>
                  <a:pt x="162" y="367"/>
                  <a:pt x="89" y="314"/>
                </a:cubicBezTo>
                <a:cubicBezTo>
                  <a:pt x="16" y="261"/>
                  <a:pt x="0" y="159"/>
                  <a:pt x="53" y="85"/>
                </a:cubicBezTo>
                <a:cubicBezTo>
                  <a:pt x="100" y="20"/>
                  <a:pt x="186" y="0"/>
                  <a:pt x="256" y="34"/>
                </a:cubicBezTo>
                <a:cubicBezTo>
                  <a:pt x="310" y="10"/>
                  <a:pt x="310" y="10"/>
                  <a:pt x="310" y="10"/>
                </a:cubicBezTo>
                <a:cubicBezTo>
                  <a:pt x="304" y="69"/>
                  <a:pt x="304" y="69"/>
                  <a:pt x="304" y="69"/>
                </a:cubicBezTo>
                <a:cubicBezTo>
                  <a:pt x="357" y="125"/>
                  <a:pt x="365" y="213"/>
                  <a:pt x="318" y="27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26" name="Freeform 24">
            <a:extLst>
              <a:ext uri="{FF2B5EF4-FFF2-40B4-BE49-F238E27FC236}">
                <a16:creationId xmlns:a16="http://schemas.microsoft.com/office/drawing/2014/main" id="{B21668B1-AF1A-4625-9A9D-39FC2FCA4DC6}"/>
              </a:ext>
            </a:extLst>
          </p:cNvPr>
          <p:cNvSpPr>
            <a:spLocks/>
          </p:cNvSpPr>
          <p:nvPr/>
        </p:nvSpPr>
        <p:spPr bwMode="auto">
          <a:xfrm>
            <a:off x="3843317" y="2560132"/>
            <a:ext cx="906093" cy="857939"/>
          </a:xfrm>
          <a:custGeom>
            <a:avLst/>
            <a:gdLst>
              <a:gd name="T0" fmla="*/ 234 w 385"/>
              <a:gd name="T1" fmla="*/ 336 h 364"/>
              <a:gd name="T2" fmla="*/ 28 w 385"/>
              <a:gd name="T3" fmla="*/ 231 h 364"/>
              <a:gd name="T4" fmla="*/ 133 w 385"/>
              <a:gd name="T5" fmla="*/ 24 h 364"/>
              <a:gd name="T6" fmla="*/ 327 w 385"/>
              <a:gd name="T7" fmla="*/ 102 h 364"/>
              <a:gd name="T8" fmla="*/ 385 w 385"/>
              <a:gd name="T9" fmla="*/ 114 h 364"/>
              <a:gd name="T10" fmla="*/ 346 w 385"/>
              <a:gd name="T11" fmla="*/ 158 h 364"/>
              <a:gd name="T12" fmla="*/ 234 w 385"/>
              <a:gd name="T13" fmla="*/ 336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5" h="364">
                <a:moveTo>
                  <a:pt x="234" y="336"/>
                </a:moveTo>
                <a:cubicBezTo>
                  <a:pt x="148" y="364"/>
                  <a:pt x="56" y="317"/>
                  <a:pt x="28" y="231"/>
                </a:cubicBezTo>
                <a:cubicBezTo>
                  <a:pt x="0" y="145"/>
                  <a:pt x="47" y="52"/>
                  <a:pt x="133" y="24"/>
                </a:cubicBezTo>
                <a:cubicBezTo>
                  <a:pt x="209" y="0"/>
                  <a:pt x="291" y="34"/>
                  <a:pt x="327" y="102"/>
                </a:cubicBezTo>
                <a:cubicBezTo>
                  <a:pt x="385" y="114"/>
                  <a:pt x="385" y="114"/>
                  <a:pt x="385" y="114"/>
                </a:cubicBezTo>
                <a:cubicBezTo>
                  <a:pt x="346" y="158"/>
                  <a:pt x="346" y="158"/>
                  <a:pt x="346" y="158"/>
                </a:cubicBezTo>
                <a:cubicBezTo>
                  <a:pt x="356" y="235"/>
                  <a:pt x="310" y="311"/>
                  <a:pt x="234" y="33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32" name="Oval 9">
            <a:extLst>
              <a:ext uri="{FF2B5EF4-FFF2-40B4-BE49-F238E27FC236}">
                <a16:creationId xmlns:a16="http://schemas.microsoft.com/office/drawing/2014/main" id="{EDA965A6-DB2F-44FB-99D1-6701F27F45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15458" y="1473214"/>
            <a:ext cx="1761083" cy="1765997"/>
          </a:xfrm>
          <a:prstGeom prst="ellipse">
            <a:avLst/>
          </a:prstGeom>
          <a:gradFill>
            <a:gsLst>
              <a:gs pos="0">
                <a:srgbClr val="EAEAEA"/>
              </a:gs>
              <a:gs pos="100000">
                <a:srgbClr val="FEFFFF"/>
              </a:gs>
            </a:gsLst>
            <a:lin ang="13500000" scaled="1"/>
          </a:gradFill>
          <a:ln w="12700" cmpd="sng">
            <a:noFill/>
            <a:prstDash val="solid"/>
          </a:ln>
          <a:effectLst>
            <a:outerShdw blurRad="317500" dir="2700000" algn="tl" rotWithShape="0">
              <a:prstClr val="black">
                <a:alpha val="6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altLang="en-US" sz="1200" dirty="0">
              <a:solidFill>
                <a:schemeClr val="tx2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3176542-376B-43F4-A5E0-9FB0CE396F48}"/>
              </a:ext>
            </a:extLst>
          </p:cNvPr>
          <p:cNvSpPr txBox="1"/>
          <p:nvPr/>
        </p:nvSpPr>
        <p:spPr>
          <a:xfrm>
            <a:off x="5311198" y="2063825"/>
            <a:ext cx="1555392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id-ID" sz="1600" b="1" dirty="0">
                <a:solidFill>
                  <a:schemeClr val="accent1"/>
                </a:solidFill>
                <a:latin typeface="+mj-lt"/>
              </a:rPr>
              <a:t>Insert </a:t>
            </a:r>
            <a:r>
              <a:rPr lang="en-US" sz="1600" b="1" dirty="0">
                <a:solidFill>
                  <a:schemeClr val="accent1"/>
                </a:solidFill>
                <a:latin typeface="+mj-lt"/>
              </a:rPr>
              <a:t>text</a:t>
            </a:r>
            <a:r>
              <a:rPr lang="id-ID" sz="1600" b="1" dirty="0">
                <a:solidFill>
                  <a:schemeClr val="accent1"/>
                </a:solidFill>
                <a:latin typeface="+mj-lt"/>
              </a:rPr>
              <a:t> here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F804761-B6B1-4FBE-84EC-A6343DA22195}"/>
              </a:ext>
            </a:extLst>
          </p:cNvPr>
          <p:cNvSpPr/>
          <p:nvPr/>
        </p:nvSpPr>
        <p:spPr>
          <a:xfrm>
            <a:off x="4102298" y="2836453"/>
            <a:ext cx="322072" cy="322071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rgbClr val="F6F7F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F4EACD8-D1EE-4981-8939-9D7D83561E22}"/>
              </a:ext>
            </a:extLst>
          </p:cNvPr>
          <p:cNvGrpSpPr/>
          <p:nvPr/>
        </p:nvGrpSpPr>
        <p:grpSpPr>
          <a:xfrm>
            <a:off x="906780" y="2637170"/>
            <a:ext cx="2880000" cy="720636"/>
            <a:chOff x="105997" y="3310632"/>
            <a:chExt cx="2880000" cy="720636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FA6A5F7-8B33-4656-95F5-CE4A27BFCCF3}"/>
                </a:ext>
              </a:extLst>
            </p:cNvPr>
            <p:cNvSpPr txBox="1"/>
            <p:nvPr/>
          </p:nvSpPr>
          <p:spPr>
            <a:xfrm>
              <a:off x="105997" y="3310632"/>
              <a:ext cx="2880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3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Insert title here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85BA7F5D-4AF3-4730-B23A-08FEB494955C}"/>
                </a:ext>
              </a:extLst>
            </p:cNvPr>
            <p:cNvSpPr txBox="1"/>
            <p:nvPr/>
          </p:nvSpPr>
          <p:spPr>
            <a:xfrm>
              <a:off x="105997" y="3569603"/>
              <a:ext cx="288000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  <a:p>
              <a:pPr marL="0" marR="0" lvl="0" indent="0" algn="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roin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cursus ligula.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2684EE2-4685-4480-9179-438C030022A1}"/>
              </a:ext>
            </a:extLst>
          </p:cNvPr>
          <p:cNvGrpSpPr/>
          <p:nvPr/>
        </p:nvGrpSpPr>
        <p:grpSpPr>
          <a:xfrm>
            <a:off x="8424506" y="2637170"/>
            <a:ext cx="2880000" cy="720636"/>
            <a:chOff x="899884" y="3310632"/>
            <a:chExt cx="2364896" cy="72063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AF8B15E-B5F5-4EBB-B7B9-90E632A772E5}"/>
                </a:ext>
              </a:extLst>
            </p:cNvPr>
            <p:cNvSpPr txBox="1"/>
            <p:nvPr/>
          </p:nvSpPr>
          <p:spPr>
            <a:xfrm>
              <a:off x="899884" y="3310632"/>
              <a:ext cx="23648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3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Insert title here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931A3A4-0547-4138-AB90-1E632177B0A4}"/>
                </a:ext>
              </a:extLst>
            </p:cNvPr>
            <p:cNvSpPr txBox="1"/>
            <p:nvPr/>
          </p:nvSpPr>
          <p:spPr>
            <a:xfrm>
              <a:off x="899884" y="3569603"/>
              <a:ext cx="23648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roin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cursus ligula.</a:t>
              </a:r>
            </a:p>
          </p:txBody>
        </p:sp>
      </p:grp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0FCB1A4-86FB-48DD-8FD1-AF96F21D306B}"/>
              </a:ext>
            </a:extLst>
          </p:cNvPr>
          <p:cNvSpPr/>
          <p:nvPr/>
        </p:nvSpPr>
        <p:spPr>
          <a:xfrm>
            <a:off x="7766273" y="2836453"/>
            <a:ext cx="322072" cy="322071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rgbClr val="F6F7F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ABB7B29-DA5F-4E7F-A475-D28A79246C3C}"/>
              </a:ext>
            </a:extLst>
          </p:cNvPr>
          <p:cNvSpPr/>
          <p:nvPr/>
        </p:nvSpPr>
        <p:spPr>
          <a:xfrm>
            <a:off x="4789237" y="3743698"/>
            <a:ext cx="322072" cy="322071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rgbClr val="F6F7F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6B83924-3581-4D04-B612-A0EC75226582}"/>
              </a:ext>
            </a:extLst>
          </p:cNvPr>
          <p:cNvGrpSpPr/>
          <p:nvPr/>
        </p:nvGrpSpPr>
        <p:grpSpPr>
          <a:xfrm>
            <a:off x="1593719" y="3544415"/>
            <a:ext cx="2880000" cy="720636"/>
            <a:chOff x="105997" y="3310632"/>
            <a:chExt cx="2880000" cy="720636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F28BABB-AAB9-435D-B408-28770D78AF96}"/>
                </a:ext>
              </a:extLst>
            </p:cNvPr>
            <p:cNvSpPr txBox="1"/>
            <p:nvPr/>
          </p:nvSpPr>
          <p:spPr>
            <a:xfrm>
              <a:off x="105997" y="3310632"/>
              <a:ext cx="2880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3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Insert title here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3A170BC-7DCC-4DFF-A63D-F5D93B0D0265}"/>
                </a:ext>
              </a:extLst>
            </p:cNvPr>
            <p:cNvSpPr txBox="1"/>
            <p:nvPr/>
          </p:nvSpPr>
          <p:spPr>
            <a:xfrm>
              <a:off x="105997" y="3569603"/>
              <a:ext cx="288000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</a:p>
            <a:p>
              <a:pPr marL="0" marR="0" lvl="0" indent="0" algn="r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roin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cursus ligula.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08AB6A2-0642-40FB-9393-CC652E0E0ADA}"/>
              </a:ext>
            </a:extLst>
          </p:cNvPr>
          <p:cNvGrpSpPr/>
          <p:nvPr/>
        </p:nvGrpSpPr>
        <p:grpSpPr>
          <a:xfrm>
            <a:off x="7727056" y="3549728"/>
            <a:ext cx="2880000" cy="720636"/>
            <a:chOff x="899884" y="3310632"/>
            <a:chExt cx="2364896" cy="720636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58D7570-916B-4B85-9AD1-7EAFEE453FC4}"/>
                </a:ext>
              </a:extLst>
            </p:cNvPr>
            <p:cNvSpPr txBox="1"/>
            <p:nvPr/>
          </p:nvSpPr>
          <p:spPr>
            <a:xfrm>
              <a:off x="899884" y="3310632"/>
              <a:ext cx="23648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3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Insert title here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7AB95FE-C067-481C-A5E9-E21078663F92}"/>
                </a:ext>
              </a:extLst>
            </p:cNvPr>
            <p:cNvSpPr txBox="1"/>
            <p:nvPr/>
          </p:nvSpPr>
          <p:spPr>
            <a:xfrm>
              <a:off x="899884" y="3569603"/>
              <a:ext cx="23648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Lorem ipsum dolor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me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,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consectetur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adipiscing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elit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roin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60000"/>
                      <a:lumOff val="40000"/>
                    </a:schemeClr>
                  </a:solidFill>
                  <a:effectLst/>
                  <a:uLnTx/>
                  <a:uFillTx/>
                  <a:ea typeface="+mn-ea"/>
                  <a:cs typeface="+mn-cs"/>
                </a:rPr>
                <a:t> cursus ligula.</a:t>
              </a:r>
            </a:p>
          </p:txBody>
        </p:sp>
      </p:grp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584E0A25-CF59-4653-A4F4-4FAD4F477958}"/>
              </a:ext>
            </a:extLst>
          </p:cNvPr>
          <p:cNvSpPr/>
          <p:nvPr/>
        </p:nvSpPr>
        <p:spPr>
          <a:xfrm>
            <a:off x="7068823" y="3749011"/>
            <a:ext cx="322072" cy="322071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rgbClr val="F6F7F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C74A0A0-0BC3-4844-B52E-32F0EF66E418}"/>
              </a:ext>
            </a:extLst>
          </p:cNvPr>
          <p:cNvGrpSpPr/>
          <p:nvPr/>
        </p:nvGrpSpPr>
        <p:grpSpPr>
          <a:xfrm>
            <a:off x="4991642" y="4787468"/>
            <a:ext cx="2208716" cy="918552"/>
            <a:chOff x="1959855" y="1388780"/>
            <a:chExt cx="1432509" cy="918552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DBF208B-DDFA-40C1-9F68-9261C240A61B}"/>
                </a:ext>
              </a:extLst>
            </p:cNvPr>
            <p:cNvSpPr txBox="1"/>
            <p:nvPr/>
          </p:nvSpPr>
          <p:spPr>
            <a:xfrm>
              <a:off x="1959855" y="1661001"/>
              <a:ext cx="14325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CDC33E7-A338-4786-9E30-B6511988EF63}"/>
                </a:ext>
              </a:extLst>
            </p:cNvPr>
            <p:cNvSpPr txBox="1"/>
            <p:nvPr/>
          </p:nvSpPr>
          <p:spPr>
            <a:xfrm>
              <a:off x="1959855" y="1388780"/>
              <a:ext cx="14325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d-ID" sz="1600" b="1" dirty="0">
                  <a:solidFill>
                    <a:schemeClr val="tx2"/>
                  </a:solidFill>
                  <a:latin typeface="+mj-lt"/>
                </a:rPr>
                <a:t>Insert title here</a:t>
              </a:r>
            </a:p>
          </p:txBody>
        </p:sp>
      </p:grp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128CE470-6949-4755-8937-576F8ACBD706}"/>
              </a:ext>
            </a:extLst>
          </p:cNvPr>
          <p:cNvSpPr/>
          <p:nvPr/>
        </p:nvSpPr>
        <p:spPr>
          <a:xfrm>
            <a:off x="5934964" y="4119174"/>
            <a:ext cx="322072" cy="322071"/>
          </a:xfrm>
          <a:custGeom>
            <a:avLst/>
            <a:gdLst>
              <a:gd name="connsiteX0" fmla="*/ 567690 w 903926"/>
              <a:gd name="connsiteY0" fmla="*/ 0 h 903922"/>
              <a:gd name="connsiteX1" fmla="*/ 337185 w 903926"/>
              <a:gd name="connsiteY1" fmla="*/ 0 h 903922"/>
              <a:gd name="connsiteX2" fmla="*/ 0 w 903926"/>
              <a:gd name="connsiteY2" fmla="*/ 337185 h 903922"/>
              <a:gd name="connsiteX3" fmla="*/ 0 w 903926"/>
              <a:gd name="connsiteY3" fmla="*/ 566738 h 903922"/>
              <a:gd name="connsiteX4" fmla="*/ 337185 w 903926"/>
              <a:gd name="connsiteY4" fmla="*/ 903923 h 903922"/>
              <a:gd name="connsiteX5" fmla="*/ 566738 w 903926"/>
              <a:gd name="connsiteY5" fmla="*/ 903923 h 903922"/>
              <a:gd name="connsiteX6" fmla="*/ 903923 w 903926"/>
              <a:gd name="connsiteY6" fmla="*/ 566738 h 903922"/>
              <a:gd name="connsiteX7" fmla="*/ 903923 w 903926"/>
              <a:gd name="connsiteY7" fmla="*/ 337185 h 903922"/>
              <a:gd name="connsiteX8" fmla="*/ 567690 w 903926"/>
              <a:gd name="connsiteY8" fmla="*/ 0 h 903922"/>
              <a:gd name="connsiteX9" fmla="*/ 682943 w 903926"/>
              <a:gd name="connsiteY9" fmla="*/ 367665 h 903922"/>
              <a:gd name="connsiteX10" fmla="*/ 422910 w 903926"/>
              <a:gd name="connsiteY10" fmla="*/ 628650 h 903922"/>
              <a:gd name="connsiteX11" fmla="*/ 374333 w 903926"/>
              <a:gd name="connsiteY11" fmla="*/ 628650 h 903922"/>
              <a:gd name="connsiteX12" fmla="*/ 221933 w 903926"/>
              <a:gd name="connsiteY12" fmla="*/ 476250 h 903922"/>
              <a:gd name="connsiteX13" fmla="*/ 221933 w 903926"/>
              <a:gd name="connsiteY13" fmla="*/ 427673 h 903922"/>
              <a:gd name="connsiteX14" fmla="*/ 264795 w 903926"/>
              <a:gd name="connsiteY14" fmla="*/ 384810 h 903922"/>
              <a:gd name="connsiteX15" fmla="*/ 313373 w 903926"/>
              <a:gd name="connsiteY15" fmla="*/ 384810 h 903922"/>
              <a:gd name="connsiteX16" fmla="*/ 387668 w 903926"/>
              <a:gd name="connsiteY16" fmla="*/ 459105 h 903922"/>
              <a:gd name="connsiteX17" fmla="*/ 409575 w 903926"/>
              <a:gd name="connsiteY17" fmla="*/ 459105 h 903922"/>
              <a:gd name="connsiteX18" fmla="*/ 591503 w 903926"/>
              <a:gd name="connsiteY18" fmla="*/ 277178 h 903922"/>
              <a:gd name="connsiteX19" fmla="*/ 640080 w 903926"/>
              <a:gd name="connsiteY19" fmla="*/ 277178 h 903922"/>
              <a:gd name="connsiteX20" fmla="*/ 682943 w 903926"/>
              <a:gd name="connsiteY20" fmla="*/ 320040 h 903922"/>
              <a:gd name="connsiteX21" fmla="*/ 682943 w 903926"/>
              <a:gd name="connsiteY21" fmla="*/ 367665 h 903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903926" h="903922">
                <a:moveTo>
                  <a:pt x="567690" y="0"/>
                </a:moveTo>
                <a:lnTo>
                  <a:pt x="337185" y="0"/>
                </a:lnTo>
                <a:cubicBezTo>
                  <a:pt x="151448" y="0"/>
                  <a:pt x="0" y="151448"/>
                  <a:pt x="0" y="337185"/>
                </a:cubicBezTo>
                <a:lnTo>
                  <a:pt x="0" y="566738"/>
                </a:lnTo>
                <a:cubicBezTo>
                  <a:pt x="0" y="752475"/>
                  <a:pt x="151448" y="903923"/>
                  <a:pt x="337185" y="903923"/>
                </a:cubicBezTo>
                <a:lnTo>
                  <a:pt x="566738" y="903923"/>
                </a:lnTo>
                <a:cubicBezTo>
                  <a:pt x="752475" y="903923"/>
                  <a:pt x="903923" y="752475"/>
                  <a:pt x="903923" y="566738"/>
                </a:cubicBezTo>
                <a:lnTo>
                  <a:pt x="903923" y="337185"/>
                </a:lnTo>
                <a:cubicBezTo>
                  <a:pt x="904875" y="151448"/>
                  <a:pt x="753428" y="0"/>
                  <a:pt x="567690" y="0"/>
                </a:cubicBezTo>
                <a:close/>
                <a:moveTo>
                  <a:pt x="682943" y="367665"/>
                </a:moveTo>
                <a:lnTo>
                  <a:pt x="422910" y="628650"/>
                </a:lnTo>
                <a:cubicBezTo>
                  <a:pt x="409575" y="641985"/>
                  <a:pt x="387668" y="641985"/>
                  <a:pt x="374333" y="628650"/>
                </a:cubicBezTo>
                <a:lnTo>
                  <a:pt x="221933" y="476250"/>
                </a:lnTo>
                <a:cubicBezTo>
                  <a:pt x="208598" y="462915"/>
                  <a:pt x="208598" y="441008"/>
                  <a:pt x="221933" y="427673"/>
                </a:cubicBezTo>
                <a:lnTo>
                  <a:pt x="264795" y="384810"/>
                </a:lnTo>
                <a:cubicBezTo>
                  <a:pt x="278130" y="371475"/>
                  <a:pt x="300038" y="371475"/>
                  <a:pt x="313373" y="384810"/>
                </a:cubicBezTo>
                <a:lnTo>
                  <a:pt x="387668" y="459105"/>
                </a:lnTo>
                <a:cubicBezTo>
                  <a:pt x="393383" y="464820"/>
                  <a:pt x="403860" y="464820"/>
                  <a:pt x="409575" y="459105"/>
                </a:cubicBezTo>
                <a:lnTo>
                  <a:pt x="591503" y="277178"/>
                </a:lnTo>
                <a:cubicBezTo>
                  <a:pt x="604838" y="263843"/>
                  <a:pt x="626745" y="263843"/>
                  <a:pt x="640080" y="277178"/>
                </a:cubicBezTo>
                <a:lnTo>
                  <a:pt x="682943" y="320040"/>
                </a:lnTo>
                <a:cubicBezTo>
                  <a:pt x="696278" y="333375"/>
                  <a:pt x="696278" y="354330"/>
                  <a:pt x="682943" y="367665"/>
                </a:cubicBezTo>
                <a:close/>
              </a:path>
            </a:pathLst>
          </a:custGeom>
          <a:solidFill>
            <a:srgbClr val="F6F7F7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9613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  <wetp:taskpane dockstate="right" visibility="0" width="350" row="2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21DC2DC5-8D14-4A5B-B73F-CF38CECC781E}">
  <we:reference id="wa200003052" version="1.0.0.0" store="en-US" storeType="OMEX"/>
  <we:alternateReferences>
    <we:reference id="WA200003052" version="1.0.0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2170</TotalTime>
  <Words>83</Words>
  <Application>Microsoft Office PowerPoint</Application>
  <PresentationFormat>Widescreen</PresentationFormat>
  <Paragraphs>1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607</cp:revision>
  <dcterms:created xsi:type="dcterms:W3CDTF">2020-11-27T23:09:27Z</dcterms:created>
  <dcterms:modified xsi:type="dcterms:W3CDTF">2022-01-20T11:1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